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3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  <p:sldMasterId id="2147483670" r:id="rId3"/>
  </p:sldMasterIdLst>
  <p:notesMasterIdLst>
    <p:notesMasterId r:id="rId44"/>
  </p:notesMasterIdLst>
  <p:sldIdLst>
    <p:sldId id="2145706844" r:id="rId4"/>
    <p:sldId id="2145706629" r:id="rId5"/>
    <p:sldId id="2145706753" r:id="rId6"/>
    <p:sldId id="2145706630" r:id="rId7"/>
    <p:sldId id="2145706638" r:id="rId8"/>
    <p:sldId id="2145706637" r:id="rId9"/>
    <p:sldId id="2145706636" r:id="rId10"/>
    <p:sldId id="2145706635" r:id="rId11"/>
    <p:sldId id="2145706816" r:id="rId12"/>
    <p:sldId id="2145706802" r:id="rId13"/>
    <p:sldId id="2145706827" r:id="rId14"/>
    <p:sldId id="2145706821" r:id="rId15"/>
    <p:sldId id="2145706822" r:id="rId16"/>
    <p:sldId id="2145706843" r:id="rId17"/>
    <p:sldId id="2145706829" r:id="rId18"/>
    <p:sldId id="2145706639" r:id="rId19"/>
    <p:sldId id="2145706803" r:id="rId20"/>
    <p:sldId id="2145706838" r:id="rId21"/>
    <p:sldId id="2145706809" r:id="rId22"/>
    <p:sldId id="2145706839" r:id="rId23"/>
    <p:sldId id="2145706840" r:id="rId24"/>
    <p:sldId id="2145706841" r:id="rId25"/>
    <p:sldId id="2145706842" r:id="rId26"/>
    <p:sldId id="2145706830" r:id="rId27"/>
    <p:sldId id="2145706824" r:id="rId28"/>
    <p:sldId id="2145706836" r:id="rId29"/>
    <p:sldId id="2145706820" r:id="rId30"/>
    <p:sldId id="2145706826" r:id="rId31"/>
    <p:sldId id="2145706801" r:id="rId32"/>
    <p:sldId id="2145706804" r:id="rId33"/>
    <p:sldId id="2145706797" r:id="rId34"/>
    <p:sldId id="2145706798" r:id="rId35"/>
    <p:sldId id="2145706625" r:id="rId36"/>
    <p:sldId id="287" r:id="rId37"/>
    <p:sldId id="266" r:id="rId38"/>
    <p:sldId id="2145706640" r:id="rId39"/>
    <p:sldId id="2145706823" r:id="rId40"/>
    <p:sldId id="279" r:id="rId41"/>
    <p:sldId id="282" r:id="rId42"/>
    <p:sldId id="256" r:id="rId43"/>
  </p:sldIdLst>
  <p:sldSz cx="12192000" cy="6858000"/>
  <p:notesSz cx="6858000" cy="9144000"/>
  <p:custDataLst>
    <p:tags r:id="rId4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7A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CBAAD83-DC3F-48F5-AE6B-C0917D252D31}" v="150" dt="2022-08-11T14:02:45.80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2359" autoAdjust="0"/>
  </p:normalViewPr>
  <p:slideViewPr>
    <p:cSldViewPr snapToGrid="0">
      <p:cViewPr varScale="1">
        <p:scale>
          <a:sx n="78" d="100"/>
          <a:sy n="78" d="100"/>
        </p:scale>
        <p:origin x="446" y="77"/>
      </p:cViewPr>
      <p:guideLst/>
    </p:cSldViewPr>
  </p:slideViewPr>
  <p:notesTextViewPr>
    <p:cViewPr>
      <p:scale>
        <a:sx n="125" d="100"/>
        <a:sy n="125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viewProps" Target="viewProps.xml"/><Relationship Id="rId50" Type="http://schemas.microsoft.com/office/2016/11/relationships/changesInfo" Target="changesInfos/changesInfo1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tags" Target="tags/tag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theme" Target="theme/theme1.xml"/><Relationship Id="rId8" Type="http://schemas.openxmlformats.org/officeDocument/2006/relationships/slide" Target="slides/slide5.xml"/><Relationship Id="rId51" Type="http://schemas.microsoft.com/office/2015/10/relationships/revisionInfo" Target="revisionInfo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presProps" Target="presProps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im, Woon" userId="c9271a81-0df1-4d40-9eb7-bb662f2e942e" providerId="ADAL" clId="{9CBAAD83-DC3F-48F5-AE6B-C0917D252D31}"/>
    <pc:docChg chg="undo redo custSel addSld delSld modSld sldOrd">
      <pc:chgData name="Kim, Woon" userId="c9271a81-0df1-4d40-9eb7-bb662f2e942e" providerId="ADAL" clId="{9CBAAD83-DC3F-48F5-AE6B-C0917D252D31}" dt="2022-08-11T14:02:45.801" v="5744" actId="14826"/>
      <pc:docMkLst>
        <pc:docMk/>
      </pc:docMkLst>
      <pc:sldChg chg="del">
        <pc:chgData name="Kim, Woon" userId="c9271a81-0df1-4d40-9eb7-bb662f2e942e" providerId="ADAL" clId="{9CBAAD83-DC3F-48F5-AE6B-C0917D252D31}" dt="2022-08-09T20:31:56.858" v="297" actId="47"/>
        <pc:sldMkLst>
          <pc:docMk/>
          <pc:sldMk cId="1966615890" sldId="264"/>
        </pc:sldMkLst>
      </pc:sldChg>
      <pc:sldChg chg="modSp mod">
        <pc:chgData name="Kim, Woon" userId="c9271a81-0df1-4d40-9eb7-bb662f2e942e" providerId="ADAL" clId="{9CBAAD83-DC3F-48F5-AE6B-C0917D252D31}" dt="2022-08-10T20:58:11.092" v="4847" actId="20577"/>
        <pc:sldMkLst>
          <pc:docMk/>
          <pc:sldMk cId="546590168" sldId="2145706629"/>
        </pc:sldMkLst>
        <pc:spChg chg="mod">
          <ac:chgData name="Kim, Woon" userId="c9271a81-0df1-4d40-9eb7-bb662f2e942e" providerId="ADAL" clId="{9CBAAD83-DC3F-48F5-AE6B-C0917D252D31}" dt="2022-08-10T20:58:11.092" v="4847" actId="20577"/>
          <ac:spMkLst>
            <pc:docMk/>
            <pc:sldMk cId="546590168" sldId="2145706629"/>
            <ac:spMk id="13" creationId="{24E5262C-A45B-483B-BEB9-E1DF12C41984}"/>
          </ac:spMkLst>
        </pc:spChg>
        <pc:picChg chg="mod">
          <ac:chgData name="Kim, Woon" userId="c9271a81-0df1-4d40-9eb7-bb662f2e942e" providerId="ADAL" clId="{9CBAAD83-DC3F-48F5-AE6B-C0917D252D31}" dt="2022-08-09T18:22:38.966" v="47" actId="1035"/>
          <ac:picMkLst>
            <pc:docMk/>
            <pc:sldMk cId="546590168" sldId="2145706629"/>
            <ac:picMk id="12" creationId="{4AB06FE0-2A0B-40CD-ACED-8F0C7D6AB523}"/>
          </ac:picMkLst>
        </pc:picChg>
      </pc:sldChg>
      <pc:sldChg chg="modSp mod">
        <pc:chgData name="Kim, Woon" userId="c9271a81-0df1-4d40-9eb7-bb662f2e942e" providerId="ADAL" clId="{9CBAAD83-DC3F-48F5-AE6B-C0917D252D31}" dt="2022-08-10T20:56:31.346" v="4799" actId="113"/>
        <pc:sldMkLst>
          <pc:docMk/>
          <pc:sldMk cId="27168415" sldId="2145706630"/>
        </pc:sldMkLst>
        <pc:spChg chg="mod">
          <ac:chgData name="Kim, Woon" userId="c9271a81-0df1-4d40-9eb7-bb662f2e942e" providerId="ADAL" clId="{9CBAAD83-DC3F-48F5-AE6B-C0917D252D31}" dt="2022-08-10T20:56:31.346" v="4799" actId="113"/>
          <ac:spMkLst>
            <pc:docMk/>
            <pc:sldMk cId="27168415" sldId="2145706630"/>
            <ac:spMk id="11" creationId="{4F582BB7-79CB-E4C8-12FC-0B4EC3B8E4DE}"/>
          </ac:spMkLst>
        </pc:spChg>
      </pc:sldChg>
      <pc:sldChg chg="addSp delSp modSp del mod modShow">
        <pc:chgData name="Kim, Woon" userId="c9271a81-0df1-4d40-9eb7-bb662f2e942e" providerId="ADAL" clId="{9CBAAD83-DC3F-48F5-AE6B-C0917D252D31}" dt="2022-08-10T18:33:54.519" v="3213" actId="2696"/>
        <pc:sldMkLst>
          <pc:docMk/>
          <pc:sldMk cId="517590225" sldId="2145706632"/>
        </pc:sldMkLst>
        <pc:spChg chg="add del mod">
          <ac:chgData name="Kim, Woon" userId="c9271a81-0df1-4d40-9eb7-bb662f2e942e" providerId="ADAL" clId="{9CBAAD83-DC3F-48F5-AE6B-C0917D252D31}" dt="2022-08-09T18:26:33.665" v="103" actId="21"/>
          <ac:spMkLst>
            <pc:docMk/>
            <pc:sldMk cId="517590225" sldId="2145706632"/>
            <ac:spMk id="6" creationId="{DC1B2CD6-EA1F-89DB-D755-974BFEF2890C}"/>
          </ac:spMkLst>
        </pc:spChg>
        <pc:spChg chg="add del mod">
          <ac:chgData name="Kim, Woon" userId="c9271a81-0df1-4d40-9eb7-bb662f2e942e" providerId="ADAL" clId="{9CBAAD83-DC3F-48F5-AE6B-C0917D252D31}" dt="2022-08-09T18:26:33.665" v="103" actId="21"/>
          <ac:spMkLst>
            <pc:docMk/>
            <pc:sldMk cId="517590225" sldId="2145706632"/>
            <ac:spMk id="7" creationId="{A1A5659D-18CF-C28B-2654-39E693F7042C}"/>
          </ac:spMkLst>
        </pc:spChg>
        <pc:spChg chg="add mod">
          <ac:chgData name="Kim, Woon" userId="c9271a81-0df1-4d40-9eb7-bb662f2e942e" providerId="ADAL" clId="{9CBAAD83-DC3F-48F5-AE6B-C0917D252D31}" dt="2022-08-09T18:27:36.230" v="142" actId="20577"/>
          <ac:spMkLst>
            <pc:docMk/>
            <pc:sldMk cId="517590225" sldId="2145706632"/>
            <ac:spMk id="8" creationId="{EF31AC64-27D3-CEF4-3FF7-549AAC05E40C}"/>
          </ac:spMkLst>
        </pc:spChg>
        <pc:spChg chg="add mod">
          <ac:chgData name="Kim, Woon" userId="c9271a81-0df1-4d40-9eb7-bb662f2e942e" providerId="ADAL" clId="{9CBAAD83-DC3F-48F5-AE6B-C0917D252D31}" dt="2022-08-09T18:26:58.855" v="125" actId="20577"/>
          <ac:spMkLst>
            <pc:docMk/>
            <pc:sldMk cId="517590225" sldId="2145706632"/>
            <ac:spMk id="9" creationId="{99F38A4E-87D9-80F0-DFDD-CBA065E685CC}"/>
          </ac:spMkLst>
        </pc:spChg>
        <pc:spChg chg="add mod">
          <ac:chgData name="Kim, Woon" userId="c9271a81-0df1-4d40-9eb7-bb662f2e942e" providerId="ADAL" clId="{9CBAAD83-DC3F-48F5-AE6B-C0917D252D31}" dt="2022-08-10T15:30:18.851" v="2357" actId="1076"/>
          <ac:spMkLst>
            <pc:docMk/>
            <pc:sldMk cId="517590225" sldId="2145706632"/>
            <ac:spMk id="10" creationId="{B9FEF941-7B7D-A5F7-D7AD-0BA529024E52}"/>
          </ac:spMkLst>
        </pc:spChg>
        <pc:spChg chg="del mod">
          <ac:chgData name="Kim, Woon" userId="c9271a81-0df1-4d40-9eb7-bb662f2e942e" providerId="ADAL" clId="{9CBAAD83-DC3F-48F5-AE6B-C0917D252D31}" dt="2022-08-09T18:25:56.933" v="96" actId="478"/>
          <ac:spMkLst>
            <pc:docMk/>
            <pc:sldMk cId="517590225" sldId="2145706632"/>
            <ac:spMk id="24" creationId="{9F44775A-05CA-D851-37AB-E51C378E629E}"/>
          </ac:spMkLst>
        </pc:spChg>
        <pc:picChg chg="mod">
          <ac:chgData name="Kim, Woon" userId="c9271a81-0df1-4d40-9eb7-bb662f2e942e" providerId="ADAL" clId="{9CBAAD83-DC3F-48F5-AE6B-C0917D252D31}" dt="2022-08-09T18:26:32.073" v="102" actId="1076"/>
          <ac:picMkLst>
            <pc:docMk/>
            <pc:sldMk cId="517590225" sldId="2145706632"/>
            <ac:picMk id="23" creationId="{74FDCB21-3DDD-2308-93F3-AD378D526BA1}"/>
          </ac:picMkLst>
        </pc:picChg>
      </pc:sldChg>
      <pc:sldChg chg="add del mod modShow">
        <pc:chgData name="Kim, Woon" userId="c9271a81-0df1-4d40-9eb7-bb662f2e942e" providerId="ADAL" clId="{9CBAAD83-DC3F-48F5-AE6B-C0917D252D31}" dt="2022-08-10T18:34:16.180" v="3218" actId="47"/>
        <pc:sldMkLst>
          <pc:docMk/>
          <pc:sldMk cId="3247226976" sldId="2145706632"/>
        </pc:sldMkLst>
      </pc:sldChg>
      <pc:sldChg chg="delSp modSp mod">
        <pc:chgData name="Kim, Woon" userId="c9271a81-0df1-4d40-9eb7-bb662f2e942e" providerId="ADAL" clId="{9CBAAD83-DC3F-48F5-AE6B-C0917D252D31}" dt="2022-08-10T18:22:51.649" v="3080" actId="1035"/>
        <pc:sldMkLst>
          <pc:docMk/>
          <pc:sldMk cId="3656417944" sldId="2145706635"/>
        </pc:sldMkLst>
        <pc:spChg chg="del">
          <ac:chgData name="Kim, Woon" userId="c9271a81-0df1-4d40-9eb7-bb662f2e942e" providerId="ADAL" clId="{9CBAAD83-DC3F-48F5-AE6B-C0917D252D31}" dt="2022-08-09T18:27:45.549" v="143" actId="478"/>
          <ac:spMkLst>
            <pc:docMk/>
            <pc:sldMk cId="3656417944" sldId="2145706635"/>
            <ac:spMk id="7" creationId="{139F7A0F-1C9C-B018-4A83-DEECDA9C535A}"/>
          </ac:spMkLst>
        </pc:spChg>
        <pc:spChg chg="mod">
          <ac:chgData name="Kim, Woon" userId="c9271a81-0df1-4d40-9eb7-bb662f2e942e" providerId="ADAL" clId="{9CBAAD83-DC3F-48F5-AE6B-C0917D252D31}" dt="2022-08-10T18:22:43.711" v="3065" actId="20577"/>
          <ac:spMkLst>
            <pc:docMk/>
            <pc:sldMk cId="3656417944" sldId="2145706635"/>
            <ac:spMk id="8" creationId="{0EC2E8EA-EEBC-39E9-8760-6AC21871588F}"/>
          </ac:spMkLst>
        </pc:spChg>
        <pc:picChg chg="mod">
          <ac:chgData name="Kim, Woon" userId="c9271a81-0df1-4d40-9eb7-bb662f2e942e" providerId="ADAL" clId="{9CBAAD83-DC3F-48F5-AE6B-C0917D252D31}" dt="2022-08-10T18:22:51.649" v="3080" actId="1035"/>
          <ac:picMkLst>
            <pc:docMk/>
            <pc:sldMk cId="3656417944" sldId="2145706635"/>
            <ac:picMk id="6" creationId="{26E33F7C-418B-4273-A9C8-AAB27B6EA943}"/>
          </ac:picMkLst>
        </pc:picChg>
        <pc:picChg chg="mod">
          <ac:chgData name="Kim, Woon" userId="c9271a81-0df1-4d40-9eb7-bb662f2e942e" providerId="ADAL" clId="{9CBAAD83-DC3F-48F5-AE6B-C0917D252D31}" dt="2022-08-10T18:22:51.649" v="3080" actId="1035"/>
          <ac:picMkLst>
            <pc:docMk/>
            <pc:sldMk cId="3656417944" sldId="2145706635"/>
            <ac:picMk id="10" creationId="{7828A4D6-B892-5C1F-81F9-EDA64A3485CF}"/>
          </ac:picMkLst>
        </pc:picChg>
      </pc:sldChg>
      <pc:sldChg chg="addSp delSp modSp mod ord modNotesTx">
        <pc:chgData name="Kim, Woon" userId="c9271a81-0df1-4d40-9eb7-bb662f2e942e" providerId="ADAL" clId="{9CBAAD83-DC3F-48F5-AE6B-C0917D252D31}" dt="2022-08-10T18:23:28.886" v="3111" actId="20577"/>
        <pc:sldMkLst>
          <pc:docMk/>
          <pc:sldMk cId="3766734721" sldId="2145706636"/>
        </pc:sldMkLst>
        <pc:spChg chg="add mod">
          <ac:chgData name="Kim, Woon" userId="c9271a81-0df1-4d40-9eb7-bb662f2e942e" providerId="ADAL" clId="{9CBAAD83-DC3F-48F5-AE6B-C0917D252D31}" dt="2022-08-10T18:23:28.886" v="3111" actId="20577"/>
          <ac:spMkLst>
            <pc:docMk/>
            <pc:sldMk cId="3766734721" sldId="2145706636"/>
            <ac:spMk id="8" creationId="{C193589F-1066-1254-A192-86556F186256}"/>
          </ac:spMkLst>
        </pc:spChg>
        <pc:spChg chg="add del">
          <ac:chgData name="Kim, Woon" userId="c9271a81-0df1-4d40-9eb7-bb662f2e942e" providerId="ADAL" clId="{9CBAAD83-DC3F-48F5-AE6B-C0917D252D31}" dt="2022-08-09T18:28:29.033" v="146" actId="478"/>
          <ac:spMkLst>
            <pc:docMk/>
            <pc:sldMk cId="3766734721" sldId="2145706636"/>
            <ac:spMk id="10" creationId="{E3CFBE10-49A7-7E60-496D-BEDB585C1783}"/>
          </ac:spMkLst>
        </pc:spChg>
        <pc:spChg chg="mod">
          <ac:chgData name="Kim, Woon" userId="c9271a81-0df1-4d40-9eb7-bb662f2e942e" providerId="ADAL" clId="{9CBAAD83-DC3F-48F5-AE6B-C0917D252D31}" dt="2022-08-09T18:30:29.274" v="206" actId="1076"/>
          <ac:spMkLst>
            <pc:docMk/>
            <pc:sldMk cId="3766734721" sldId="2145706636"/>
            <ac:spMk id="11" creationId="{7A63A62A-AF55-5FE1-F984-7873154F80A6}"/>
          </ac:spMkLst>
        </pc:spChg>
        <pc:spChg chg="mod">
          <ac:chgData name="Kim, Woon" userId="c9271a81-0df1-4d40-9eb7-bb662f2e942e" providerId="ADAL" clId="{9CBAAD83-DC3F-48F5-AE6B-C0917D252D31}" dt="2022-08-09T18:30:29.274" v="206" actId="1076"/>
          <ac:spMkLst>
            <pc:docMk/>
            <pc:sldMk cId="3766734721" sldId="2145706636"/>
            <ac:spMk id="12" creationId="{24C44357-43C6-861C-37E6-3118CE674B46}"/>
          </ac:spMkLst>
        </pc:spChg>
        <pc:spChg chg="add mod">
          <ac:chgData name="Kim, Woon" userId="c9271a81-0df1-4d40-9eb7-bb662f2e942e" providerId="ADAL" clId="{9CBAAD83-DC3F-48F5-AE6B-C0917D252D31}" dt="2022-08-09T18:30:23.609" v="205" actId="1076"/>
          <ac:spMkLst>
            <pc:docMk/>
            <pc:sldMk cId="3766734721" sldId="2145706636"/>
            <ac:spMk id="13" creationId="{7C493DEB-CEC3-E7DA-7464-9A053DB6E2AA}"/>
          </ac:spMkLst>
        </pc:spChg>
      </pc:sldChg>
      <pc:sldChg chg="modSp mod ord">
        <pc:chgData name="Kim, Woon" userId="c9271a81-0df1-4d40-9eb7-bb662f2e942e" providerId="ADAL" clId="{9CBAAD83-DC3F-48F5-AE6B-C0917D252D31}" dt="2022-08-10T19:57:04.272" v="4345" actId="20577"/>
        <pc:sldMkLst>
          <pc:docMk/>
          <pc:sldMk cId="1494988929" sldId="2145706637"/>
        </pc:sldMkLst>
        <pc:spChg chg="mod">
          <ac:chgData name="Kim, Woon" userId="c9271a81-0df1-4d40-9eb7-bb662f2e942e" providerId="ADAL" clId="{9CBAAD83-DC3F-48F5-AE6B-C0917D252D31}" dt="2022-08-10T19:57:04.272" v="4345" actId="20577"/>
          <ac:spMkLst>
            <pc:docMk/>
            <pc:sldMk cId="1494988929" sldId="2145706637"/>
            <ac:spMk id="10" creationId="{84ACB4CD-7397-8357-1B57-E60CDBE07937}"/>
          </ac:spMkLst>
        </pc:spChg>
      </pc:sldChg>
      <pc:sldChg chg="modSp mod">
        <pc:chgData name="Kim, Woon" userId="c9271a81-0df1-4d40-9eb7-bb662f2e942e" providerId="ADAL" clId="{9CBAAD83-DC3F-48F5-AE6B-C0917D252D31}" dt="2022-08-10T21:00:50.445" v="4893" actId="1076"/>
        <pc:sldMkLst>
          <pc:docMk/>
          <pc:sldMk cId="3182540794" sldId="2145706638"/>
        </pc:sldMkLst>
        <pc:spChg chg="mod">
          <ac:chgData name="Kim, Woon" userId="c9271a81-0df1-4d40-9eb7-bb662f2e942e" providerId="ADAL" clId="{9CBAAD83-DC3F-48F5-AE6B-C0917D252D31}" dt="2022-08-10T21:00:50.445" v="4893" actId="1076"/>
          <ac:spMkLst>
            <pc:docMk/>
            <pc:sldMk cId="3182540794" sldId="2145706638"/>
            <ac:spMk id="4" creationId="{8D313E9D-2D23-AFFB-B308-AB427B8836EA}"/>
          </ac:spMkLst>
        </pc:spChg>
        <pc:graphicFrameChg chg="modGraphic">
          <ac:chgData name="Kim, Woon" userId="c9271a81-0df1-4d40-9eb7-bb662f2e942e" providerId="ADAL" clId="{9CBAAD83-DC3F-48F5-AE6B-C0917D252D31}" dt="2022-08-10T21:00:50.008" v="4892" actId="113"/>
          <ac:graphicFrameMkLst>
            <pc:docMk/>
            <pc:sldMk cId="3182540794" sldId="2145706638"/>
            <ac:graphicFrameMk id="6" creationId="{220F8768-183C-10DE-0127-5113C155B05E}"/>
          </ac:graphicFrameMkLst>
        </pc:graphicFrameChg>
      </pc:sldChg>
      <pc:sldChg chg="modSp mod modNotesTx">
        <pc:chgData name="Kim, Woon" userId="c9271a81-0df1-4d40-9eb7-bb662f2e942e" providerId="ADAL" clId="{9CBAAD83-DC3F-48F5-AE6B-C0917D252D31}" dt="2022-08-11T14:02:45.801" v="5744" actId="14826"/>
        <pc:sldMkLst>
          <pc:docMk/>
          <pc:sldMk cId="1809508406" sldId="2145706639"/>
        </pc:sldMkLst>
        <pc:spChg chg="mod">
          <ac:chgData name="Kim, Woon" userId="c9271a81-0df1-4d40-9eb7-bb662f2e942e" providerId="ADAL" clId="{9CBAAD83-DC3F-48F5-AE6B-C0917D252D31}" dt="2022-08-09T18:31:24.841" v="223" actId="20577"/>
          <ac:spMkLst>
            <pc:docMk/>
            <pc:sldMk cId="1809508406" sldId="2145706639"/>
            <ac:spMk id="2" creationId="{AA6F49F7-42D7-40BF-9E6B-1FDB9818C092}"/>
          </ac:spMkLst>
        </pc:spChg>
        <pc:spChg chg="mod">
          <ac:chgData name="Kim, Woon" userId="c9271a81-0df1-4d40-9eb7-bb662f2e942e" providerId="ADAL" clId="{9CBAAD83-DC3F-48F5-AE6B-C0917D252D31}" dt="2022-08-10T20:15:59.755" v="4477" actId="20577"/>
          <ac:spMkLst>
            <pc:docMk/>
            <pc:sldMk cId="1809508406" sldId="2145706639"/>
            <ac:spMk id="13" creationId="{F44DDFDE-A832-0CA9-44D4-88F6B9A7331B}"/>
          </ac:spMkLst>
        </pc:spChg>
        <pc:picChg chg="mod">
          <ac:chgData name="Kim, Woon" userId="c9271a81-0df1-4d40-9eb7-bb662f2e942e" providerId="ADAL" clId="{9CBAAD83-DC3F-48F5-AE6B-C0917D252D31}" dt="2022-08-11T14:02:45.801" v="5744" actId="14826"/>
          <ac:picMkLst>
            <pc:docMk/>
            <pc:sldMk cId="1809508406" sldId="2145706639"/>
            <ac:picMk id="10" creationId="{4836CADF-AAD5-890E-28DB-2C172C417A87}"/>
          </ac:picMkLst>
        </pc:picChg>
        <pc:picChg chg="mod">
          <ac:chgData name="Kim, Woon" userId="c9271a81-0df1-4d40-9eb7-bb662f2e942e" providerId="ADAL" clId="{9CBAAD83-DC3F-48F5-AE6B-C0917D252D31}" dt="2022-08-11T14:02:41.308" v="5743" actId="14826"/>
          <ac:picMkLst>
            <pc:docMk/>
            <pc:sldMk cId="1809508406" sldId="2145706639"/>
            <ac:picMk id="17" creationId="{10E4DE25-1860-7AB2-AA44-0EC86D9B7BEB}"/>
          </ac:picMkLst>
        </pc:picChg>
      </pc:sldChg>
      <pc:sldChg chg="modSp add del mod">
        <pc:chgData name="Kim, Woon" userId="c9271a81-0df1-4d40-9eb7-bb662f2e942e" providerId="ADAL" clId="{9CBAAD83-DC3F-48F5-AE6B-C0917D252D31}" dt="2022-08-10T13:54:39.085" v="1667"/>
        <pc:sldMkLst>
          <pc:docMk/>
          <pc:sldMk cId="3177953121" sldId="2145706640"/>
        </pc:sldMkLst>
        <pc:spChg chg="mod">
          <ac:chgData name="Kim, Woon" userId="c9271a81-0df1-4d40-9eb7-bb662f2e942e" providerId="ADAL" clId="{9CBAAD83-DC3F-48F5-AE6B-C0917D252D31}" dt="2022-08-10T13:54:39.085" v="1667"/>
          <ac:spMkLst>
            <pc:docMk/>
            <pc:sldMk cId="3177953121" sldId="2145706640"/>
            <ac:spMk id="2" creationId="{AA6F49F7-42D7-40BF-9E6B-1FDB9818C092}"/>
          </ac:spMkLst>
        </pc:spChg>
      </pc:sldChg>
      <pc:sldChg chg="delSp modSp add del mod modShow modNotesTx">
        <pc:chgData name="Kim, Woon" userId="c9271a81-0df1-4d40-9eb7-bb662f2e942e" providerId="ADAL" clId="{9CBAAD83-DC3F-48F5-AE6B-C0917D252D31}" dt="2022-08-10T13:54:44.519" v="1669" actId="2696"/>
        <pc:sldMkLst>
          <pc:docMk/>
          <pc:sldMk cId="3241457269" sldId="2145706640"/>
        </pc:sldMkLst>
        <pc:spChg chg="del mod">
          <ac:chgData name="Kim, Woon" userId="c9271a81-0df1-4d40-9eb7-bb662f2e942e" providerId="ADAL" clId="{9CBAAD83-DC3F-48F5-AE6B-C0917D252D31}" dt="2022-08-09T18:31:46.322" v="225" actId="478"/>
          <ac:spMkLst>
            <pc:docMk/>
            <pc:sldMk cId="3241457269" sldId="2145706640"/>
            <ac:spMk id="10" creationId="{5C4308DF-E741-669E-D84C-09667E48CCC3}"/>
          </ac:spMkLst>
        </pc:spChg>
      </pc:sldChg>
      <pc:sldChg chg="add mod modShow">
        <pc:chgData name="Kim, Woon" userId="c9271a81-0df1-4d40-9eb7-bb662f2e942e" providerId="ADAL" clId="{9CBAAD83-DC3F-48F5-AE6B-C0917D252D31}" dt="2022-08-10T13:55:57.427" v="1676" actId="729"/>
        <pc:sldMkLst>
          <pc:docMk/>
          <pc:sldMk cId="3780489364" sldId="2145706640"/>
        </pc:sldMkLst>
      </pc:sldChg>
      <pc:sldChg chg="modSp mod">
        <pc:chgData name="Kim, Woon" userId="c9271a81-0df1-4d40-9eb7-bb662f2e942e" providerId="ADAL" clId="{9CBAAD83-DC3F-48F5-AE6B-C0917D252D31}" dt="2022-08-10T20:58:32.397" v="4880" actId="20577"/>
        <pc:sldMkLst>
          <pc:docMk/>
          <pc:sldMk cId="2268823759" sldId="2145706753"/>
        </pc:sldMkLst>
        <pc:spChg chg="mod">
          <ac:chgData name="Kim, Woon" userId="c9271a81-0df1-4d40-9eb7-bb662f2e942e" providerId="ADAL" clId="{9CBAAD83-DC3F-48F5-AE6B-C0917D252D31}" dt="2022-08-10T19:52:41.983" v="4283" actId="20577"/>
          <ac:spMkLst>
            <pc:docMk/>
            <pc:sldMk cId="2268823759" sldId="2145706753"/>
            <ac:spMk id="201" creationId="{53119D67-75EC-43A5-9558-0AAFA21B8677}"/>
          </ac:spMkLst>
        </pc:spChg>
        <pc:spChg chg="mod">
          <ac:chgData name="Kim, Woon" userId="c9271a81-0df1-4d40-9eb7-bb662f2e942e" providerId="ADAL" clId="{9CBAAD83-DC3F-48F5-AE6B-C0917D252D31}" dt="2022-08-10T20:58:32.397" v="4880" actId="20577"/>
          <ac:spMkLst>
            <pc:docMk/>
            <pc:sldMk cId="2268823759" sldId="2145706753"/>
            <ac:spMk id="206" creationId="{45C4456D-E606-45BD-811E-0F8855E134CA}"/>
          </ac:spMkLst>
        </pc:spChg>
      </pc:sldChg>
      <pc:sldChg chg="addSp delSp modSp mod">
        <pc:chgData name="Kim, Woon" userId="c9271a81-0df1-4d40-9eb7-bb662f2e942e" providerId="ADAL" clId="{9CBAAD83-DC3F-48F5-AE6B-C0917D252D31}" dt="2022-08-11T12:48:07.760" v="5384" actId="113"/>
        <pc:sldMkLst>
          <pc:docMk/>
          <pc:sldMk cId="3677575753" sldId="2145706801"/>
        </pc:sldMkLst>
        <pc:spChg chg="mod">
          <ac:chgData name="Kim, Woon" userId="c9271a81-0df1-4d40-9eb7-bb662f2e942e" providerId="ADAL" clId="{9CBAAD83-DC3F-48F5-AE6B-C0917D252D31}" dt="2022-08-10T18:36:21.166" v="3273" actId="120"/>
          <ac:spMkLst>
            <pc:docMk/>
            <pc:sldMk cId="3677575753" sldId="2145706801"/>
            <ac:spMk id="201" creationId="{53119D67-75EC-43A5-9558-0AAFA21B8677}"/>
          </ac:spMkLst>
        </pc:spChg>
        <pc:spChg chg="mod">
          <ac:chgData name="Kim, Woon" userId="c9271a81-0df1-4d40-9eb7-bb662f2e942e" providerId="ADAL" clId="{9CBAAD83-DC3F-48F5-AE6B-C0917D252D31}" dt="2022-08-11T12:48:07.760" v="5384" actId="113"/>
          <ac:spMkLst>
            <pc:docMk/>
            <pc:sldMk cId="3677575753" sldId="2145706801"/>
            <ac:spMk id="206" creationId="{45C4456D-E606-45BD-811E-0F8855E134CA}"/>
          </ac:spMkLst>
        </pc:spChg>
        <pc:picChg chg="add del">
          <ac:chgData name="Kim, Woon" userId="c9271a81-0df1-4d40-9eb7-bb662f2e942e" providerId="ADAL" clId="{9CBAAD83-DC3F-48F5-AE6B-C0917D252D31}" dt="2022-08-09T20:31:34.279" v="281" actId="22"/>
          <ac:picMkLst>
            <pc:docMk/>
            <pc:sldMk cId="3677575753" sldId="2145706801"/>
            <ac:picMk id="4" creationId="{BAB23AE6-1001-BED6-1B8E-14AB2FA3263D}"/>
          </ac:picMkLst>
        </pc:picChg>
      </pc:sldChg>
      <pc:sldChg chg="addSp delSp modSp mod modNotesTx">
        <pc:chgData name="Kim, Woon" userId="c9271a81-0df1-4d40-9eb7-bb662f2e942e" providerId="ADAL" clId="{9CBAAD83-DC3F-48F5-AE6B-C0917D252D31}" dt="2022-08-11T14:00:43.623" v="5742" actId="6549"/>
        <pc:sldMkLst>
          <pc:docMk/>
          <pc:sldMk cId="3765602188" sldId="2145706802"/>
        </pc:sldMkLst>
        <pc:spChg chg="add del mod">
          <ac:chgData name="Kim, Woon" userId="c9271a81-0df1-4d40-9eb7-bb662f2e942e" providerId="ADAL" clId="{9CBAAD83-DC3F-48F5-AE6B-C0917D252D31}" dt="2022-08-10T18:55:21.637" v="3441" actId="478"/>
          <ac:spMkLst>
            <pc:docMk/>
            <pc:sldMk cId="3765602188" sldId="2145706802"/>
            <ac:spMk id="3" creationId="{8676CB12-CB9F-C6E9-8758-2ED9E8DC10DC}"/>
          </ac:spMkLst>
        </pc:spChg>
        <pc:spChg chg="add mod">
          <ac:chgData name="Kim, Woon" userId="c9271a81-0df1-4d40-9eb7-bb662f2e942e" providerId="ADAL" clId="{9CBAAD83-DC3F-48F5-AE6B-C0917D252D31}" dt="2022-08-10T21:01:13.906" v="4926" actId="20577"/>
          <ac:spMkLst>
            <pc:docMk/>
            <pc:sldMk cId="3765602188" sldId="2145706802"/>
            <ac:spMk id="11" creationId="{06B01316-BD49-D8D0-77D6-D36B5D58D50C}"/>
          </ac:spMkLst>
        </pc:spChg>
        <pc:spChg chg="del">
          <ac:chgData name="Kim, Woon" userId="c9271a81-0df1-4d40-9eb7-bb662f2e942e" providerId="ADAL" clId="{9CBAAD83-DC3F-48F5-AE6B-C0917D252D31}" dt="2022-08-09T18:31:05.643" v="207" actId="478"/>
          <ac:spMkLst>
            <pc:docMk/>
            <pc:sldMk cId="3765602188" sldId="2145706802"/>
            <ac:spMk id="206" creationId="{45C4456D-E606-45BD-811E-0F8855E134CA}"/>
          </ac:spMkLst>
        </pc:spChg>
      </pc:sldChg>
      <pc:sldChg chg="addSp delSp modSp add del mod">
        <pc:chgData name="Kim, Woon" userId="c9271a81-0df1-4d40-9eb7-bb662f2e942e" providerId="ADAL" clId="{9CBAAD83-DC3F-48F5-AE6B-C0917D252D31}" dt="2022-08-09T18:23:06.885" v="56" actId="47"/>
        <pc:sldMkLst>
          <pc:docMk/>
          <pc:sldMk cId="116233201" sldId="2145706803"/>
        </pc:sldMkLst>
        <pc:spChg chg="del">
          <ac:chgData name="Kim, Woon" userId="c9271a81-0df1-4d40-9eb7-bb662f2e942e" providerId="ADAL" clId="{9CBAAD83-DC3F-48F5-AE6B-C0917D252D31}" dt="2022-08-09T18:22:50.631" v="49" actId="478"/>
          <ac:spMkLst>
            <pc:docMk/>
            <pc:sldMk cId="116233201" sldId="2145706803"/>
            <ac:spMk id="2" creationId="{C6A0D5E8-8A65-490A-9810-5C6E331C096B}"/>
          </ac:spMkLst>
        </pc:spChg>
        <pc:spChg chg="add mod">
          <ac:chgData name="Kim, Woon" userId="c9271a81-0df1-4d40-9eb7-bb662f2e942e" providerId="ADAL" clId="{9CBAAD83-DC3F-48F5-AE6B-C0917D252D31}" dt="2022-08-09T18:22:50.631" v="49" actId="478"/>
          <ac:spMkLst>
            <pc:docMk/>
            <pc:sldMk cId="116233201" sldId="2145706803"/>
            <ac:spMk id="4" creationId="{AECF80E2-49BC-1C72-073B-DFA11E39775D}"/>
          </ac:spMkLst>
        </pc:spChg>
        <pc:spChg chg="del">
          <ac:chgData name="Kim, Woon" userId="c9271a81-0df1-4d40-9eb7-bb662f2e942e" providerId="ADAL" clId="{9CBAAD83-DC3F-48F5-AE6B-C0917D252D31}" dt="2022-08-09T18:22:50.631" v="49" actId="478"/>
          <ac:spMkLst>
            <pc:docMk/>
            <pc:sldMk cId="116233201" sldId="2145706803"/>
            <ac:spMk id="199" creationId="{50D6F1B9-854A-458F-8035-79F1866318F1}"/>
          </ac:spMkLst>
        </pc:spChg>
        <pc:spChg chg="del">
          <ac:chgData name="Kim, Woon" userId="c9271a81-0df1-4d40-9eb7-bb662f2e942e" providerId="ADAL" clId="{9CBAAD83-DC3F-48F5-AE6B-C0917D252D31}" dt="2022-08-09T18:22:50.631" v="49" actId="478"/>
          <ac:spMkLst>
            <pc:docMk/>
            <pc:sldMk cId="116233201" sldId="2145706803"/>
            <ac:spMk id="200" creationId="{292841D7-23AB-4A59-9F37-4561DD7F57ED}"/>
          </ac:spMkLst>
        </pc:spChg>
        <pc:spChg chg="del">
          <ac:chgData name="Kim, Woon" userId="c9271a81-0df1-4d40-9eb7-bb662f2e942e" providerId="ADAL" clId="{9CBAAD83-DC3F-48F5-AE6B-C0917D252D31}" dt="2022-08-09T18:22:50.631" v="49" actId="478"/>
          <ac:spMkLst>
            <pc:docMk/>
            <pc:sldMk cId="116233201" sldId="2145706803"/>
            <ac:spMk id="201" creationId="{53119D67-75EC-43A5-9558-0AAFA21B8677}"/>
          </ac:spMkLst>
        </pc:spChg>
        <pc:spChg chg="del">
          <ac:chgData name="Kim, Woon" userId="c9271a81-0df1-4d40-9eb7-bb662f2e942e" providerId="ADAL" clId="{9CBAAD83-DC3F-48F5-AE6B-C0917D252D31}" dt="2022-08-09T18:22:50.631" v="49" actId="478"/>
          <ac:spMkLst>
            <pc:docMk/>
            <pc:sldMk cId="116233201" sldId="2145706803"/>
            <ac:spMk id="204" creationId="{798C67FC-3B74-4F40-BE84-A63875D21961}"/>
          </ac:spMkLst>
        </pc:spChg>
        <pc:spChg chg="del">
          <ac:chgData name="Kim, Woon" userId="c9271a81-0df1-4d40-9eb7-bb662f2e942e" providerId="ADAL" clId="{9CBAAD83-DC3F-48F5-AE6B-C0917D252D31}" dt="2022-08-09T18:22:50.631" v="49" actId="478"/>
          <ac:spMkLst>
            <pc:docMk/>
            <pc:sldMk cId="116233201" sldId="2145706803"/>
            <ac:spMk id="205" creationId="{B23BA648-DBE6-43E1-A7DD-05A2702C0810}"/>
          </ac:spMkLst>
        </pc:spChg>
        <pc:spChg chg="del">
          <ac:chgData name="Kim, Woon" userId="c9271a81-0df1-4d40-9eb7-bb662f2e942e" providerId="ADAL" clId="{9CBAAD83-DC3F-48F5-AE6B-C0917D252D31}" dt="2022-08-09T18:22:50.631" v="49" actId="478"/>
          <ac:spMkLst>
            <pc:docMk/>
            <pc:sldMk cId="116233201" sldId="2145706803"/>
            <ac:spMk id="206" creationId="{45C4456D-E606-45BD-811E-0F8855E134CA}"/>
          </ac:spMkLst>
        </pc:spChg>
        <pc:picChg chg="add del mod ord">
          <ac:chgData name="Kim, Woon" userId="c9271a81-0df1-4d40-9eb7-bb662f2e942e" providerId="ADAL" clId="{9CBAAD83-DC3F-48F5-AE6B-C0917D252D31}" dt="2022-08-09T18:23:04.953" v="55"/>
          <ac:picMkLst>
            <pc:docMk/>
            <pc:sldMk cId="116233201" sldId="2145706803"/>
            <ac:picMk id="13" creationId="{B3705018-08A8-2910-3EBF-6CB32CF03AC3}"/>
          </ac:picMkLst>
        </pc:picChg>
        <pc:cxnChg chg="del">
          <ac:chgData name="Kim, Woon" userId="c9271a81-0df1-4d40-9eb7-bb662f2e942e" providerId="ADAL" clId="{9CBAAD83-DC3F-48F5-AE6B-C0917D252D31}" dt="2022-08-09T18:22:50.631" v="49" actId="478"/>
          <ac:cxnSpMkLst>
            <pc:docMk/>
            <pc:sldMk cId="116233201" sldId="2145706803"/>
            <ac:cxnSpMk id="202" creationId="{2B53E5C9-98AB-4402-A39A-B60EBD3EBBAB}"/>
          </ac:cxnSpMkLst>
        </pc:cxnChg>
        <pc:cxnChg chg="del">
          <ac:chgData name="Kim, Woon" userId="c9271a81-0df1-4d40-9eb7-bb662f2e942e" providerId="ADAL" clId="{9CBAAD83-DC3F-48F5-AE6B-C0917D252D31}" dt="2022-08-09T18:22:50.631" v="49" actId="478"/>
          <ac:cxnSpMkLst>
            <pc:docMk/>
            <pc:sldMk cId="116233201" sldId="2145706803"/>
            <ac:cxnSpMk id="207" creationId="{3062B607-2C0B-4ABF-91B1-02AE2F34C7EE}"/>
          </ac:cxnSpMkLst>
        </pc:cxnChg>
      </pc:sldChg>
      <pc:sldChg chg="addSp delSp modSp add mod modNotesTx">
        <pc:chgData name="Kim, Woon" userId="c9271a81-0df1-4d40-9eb7-bb662f2e942e" providerId="ADAL" clId="{9CBAAD83-DC3F-48F5-AE6B-C0917D252D31}" dt="2022-08-10T20:51:54.679" v="4784" actId="20577"/>
        <pc:sldMkLst>
          <pc:docMk/>
          <pc:sldMk cId="3412557564" sldId="2145706803"/>
        </pc:sldMkLst>
        <pc:spChg chg="mod">
          <ac:chgData name="Kim, Woon" userId="c9271a81-0df1-4d40-9eb7-bb662f2e942e" providerId="ADAL" clId="{9CBAAD83-DC3F-48F5-AE6B-C0917D252D31}" dt="2022-08-09T20:38:55.571" v="628" actId="20577"/>
          <ac:spMkLst>
            <pc:docMk/>
            <pc:sldMk cId="3412557564" sldId="2145706803"/>
            <ac:spMk id="2" creationId="{AA6F49F7-42D7-40BF-9E6B-1FDB9818C092}"/>
          </ac:spMkLst>
        </pc:spChg>
        <pc:spChg chg="add mod">
          <ac:chgData name="Kim, Woon" userId="c9271a81-0df1-4d40-9eb7-bb662f2e942e" providerId="ADAL" clId="{9CBAAD83-DC3F-48F5-AE6B-C0917D252D31}" dt="2022-08-10T13:56:07.275" v="1677" actId="164"/>
          <ac:spMkLst>
            <pc:docMk/>
            <pc:sldMk cId="3412557564" sldId="2145706803"/>
            <ac:spMk id="9" creationId="{36E8600B-F715-86D9-DEA2-9017258AE80D}"/>
          </ac:spMkLst>
        </pc:spChg>
        <pc:spChg chg="add mod">
          <ac:chgData name="Kim, Woon" userId="c9271a81-0df1-4d40-9eb7-bb662f2e942e" providerId="ADAL" clId="{9CBAAD83-DC3F-48F5-AE6B-C0917D252D31}" dt="2022-08-10T13:56:31.966" v="1741" actId="1037"/>
          <ac:spMkLst>
            <pc:docMk/>
            <pc:sldMk cId="3412557564" sldId="2145706803"/>
            <ac:spMk id="11" creationId="{9A9A9CB3-6D19-4635-4B62-0C342B76D7BB}"/>
          </ac:spMkLst>
        </pc:spChg>
        <pc:spChg chg="del">
          <ac:chgData name="Kim, Woon" userId="c9271a81-0df1-4d40-9eb7-bb662f2e942e" providerId="ADAL" clId="{9CBAAD83-DC3F-48F5-AE6B-C0917D252D31}" dt="2022-08-09T20:31:22.534" v="278" actId="478"/>
          <ac:spMkLst>
            <pc:docMk/>
            <pc:sldMk cId="3412557564" sldId="2145706803"/>
            <ac:spMk id="13" creationId="{F44DDFDE-A832-0CA9-44D4-88F6B9A7331B}"/>
          </ac:spMkLst>
        </pc:spChg>
        <pc:spChg chg="del">
          <ac:chgData name="Kim, Woon" userId="c9271a81-0df1-4d40-9eb7-bb662f2e942e" providerId="ADAL" clId="{9CBAAD83-DC3F-48F5-AE6B-C0917D252D31}" dt="2022-08-09T20:31:22.534" v="278" actId="478"/>
          <ac:spMkLst>
            <pc:docMk/>
            <pc:sldMk cId="3412557564" sldId="2145706803"/>
            <ac:spMk id="14" creationId="{D5AA8E1A-5187-549A-D58C-FF2F7A31A655}"/>
          </ac:spMkLst>
        </pc:spChg>
        <pc:spChg chg="add mod">
          <ac:chgData name="Kim, Woon" userId="c9271a81-0df1-4d40-9eb7-bb662f2e942e" providerId="ADAL" clId="{9CBAAD83-DC3F-48F5-AE6B-C0917D252D31}" dt="2022-08-10T13:56:07.275" v="1677" actId="164"/>
          <ac:spMkLst>
            <pc:docMk/>
            <pc:sldMk cId="3412557564" sldId="2145706803"/>
            <ac:spMk id="16" creationId="{5F27909F-FE60-A92E-7D27-F6957EABB653}"/>
          </ac:spMkLst>
        </pc:spChg>
        <pc:spChg chg="del">
          <ac:chgData name="Kim, Woon" userId="c9271a81-0df1-4d40-9eb7-bb662f2e942e" providerId="ADAL" clId="{9CBAAD83-DC3F-48F5-AE6B-C0917D252D31}" dt="2022-08-09T20:31:22.534" v="278" actId="478"/>
          <ac:spMkLst>
            <pc:docMk/>
            <pc:sldMk cId="3412557564" sldId="2145706803"/>
            <ac:spMk id="18" creationId="{793BCB18-3A3D-FA51-01BB-888AA072F06A}"/>
          </ac:spMkLst>
        </pc:spChg>
        <pc:spChg chg="del">
          <ac:chgData name="Kim, Woon" userId="c9271a81-0df1-4d40-9eb7-bb662f2e942e" providerId="ADAL" clId="{9CBAAD83-DC3F-48F5-AE6B-C0917D252D31}" dt="2022-08-09T20:31:22.534" v="278" actId="478"/>
          <ac:spMkLst>
            <pc:docMk/>
            <pc:sldMk cId="3412557564" sldId="2145706803"/>
            <ac:spMk id="19" creationId="{EE62EAEC-B0FF-B284-7C33-4A182C2C3786}"/>
          </ac:spMkLst>
        </pc:spChg>
        <pc:spChg chg="add mod">
          <ac:chgData name="Kim, Woon" userId="c9271a81-0df1-4d40-9eb7-bb662f2e942e" providerId="ADAL" clId="{9CBAAD83-DC3F-48F5-AE6B-C0917D252D31}" dt="2022-08-10T13:56:07.275" v="1677" actId="164"/>
          <ac:spMkLst>
            <pc:docMk/>
            <pc:sldMk cId="3412557564" sldId="2145706803"/>
            <ac:spMk id="20" creationId="{5B0F14F2-E385-BA81-8AEC-E6341AC5B9BE}"/>
          </ac:spMkLst>
        </pc:spChg>
        <pc:spChg chg="add mod">
          <ac:chgData name="Kim, Woon" userId="c9271a81-0df1-4d40-9eb7-bb662f2e942e" providerId="ADAL" clId="{9CBAAD83-DC3F-48F5-AE6B-C0917D252D31}" dt="2022-08-10T13:56:07.275" v="1677" actId="164"/>
          <ac:spMkLst>
            <pc:docMk/>
            <pc:sldMk cId="3412557564" sldId="2145706803"/>
            <ac:spMk id="21" creationId="{DEB6E261-834F-DDC2-39AA-A8F9163AA304}"/>
          </ac:spMkLst>
        </pc:spChg>
        <pc:spChg chg="add mod">
          <ac:chgData name="Kim, Woon" userId="c9271a81-0df1-4d40-9eb7-bb662f2e942e" providerId="ADAL" clId="{9CBAAD83-DC3F-48F5-AE6B-C0917D252D31}" dt="2022-08-10T13:56:07.275" v="1677" actId="164"/>
          <ac:spMkLst>
            <pc:docMk/>
            <pc:sldMk cId="3412557564" sldId="2145706803"/>
            <ac:spMk id="22" creationId="{40BE8196-8B2B-4D9B-A3EF-223E0383105C}"/>
          </ac:spMkLst>
        </pc:spChg>
        <pc:spChg chg="add mod">
          <ac:chgData name="Kim, Woon" userId="c9271a81-0df1-4d40-9eb7-bb662f2e942e" providerId="ADAL" clId="{9CBAAD83-DC3F-48F5-AE6B-C0917D252D31}" dt="2022-08-10T13:56:07.275" v="1677" actId="164"/>
          <ac:spMkLst>
            <pc:docMk/>
            <pc:sldMk cId="3412557564" sldId="2145706803"/>
            <ac:spMk id="23" creationId="{8A109031-36ED-7DC3-7372-7DCF027E8AAC}"/>
          </ac:spMkLst>
        </pc:spChg>
        <pc:grpChg chg="add mod">
          <ac:chgData name="Kim, Woon" userId="c9271a81-0df1-4d40-9eb7-bb662f2e942e" providerId="ADAL" clId="{9CBAAD83-DC3F-48F5-AE6B-C0917D252D31}" dt="2022-08-10T13:56:07.275" v="1677" actId="164"/>
          <ac:grpSpMkLst>
            <pc:docMk/>
            <pc:sldMk cId="3412557564" sldId="2145706803"/>
            <ac:grpSpMk id="8" creationId="{D6705DCD-E476-8E9E-C833-709CBF3F29AA}"/>
          </ac:grpSpMkLst>
        </pc:grpChg>
        <pc:grpChg chg="add mod">
          <ac:chgData name="Kim, Woon" userId="c9271a81-0df1-4d40-9eb7-bb662f2e942e" providerId="ADAL" clId="{9CBAAD83-DC3F-48F5-AE6B-C0917D252D31}" dt="2022-08-10T13:56:28.150" v="1739" actId="1036"/>
          <ac:grpSpMkLst>
            <pc:docMk/>
            <pc:sldMk cId="3412557564" sldId="2145706803"/>
            <ac:grpSpMk id="12" creationId="{F080B666-1511-4F28-3C55-37EF7CB0B76D}"/>
          </ac:grpSpMkLst>
        </pc:grpChg>
        <pc:picChg chg="add mod">
          <ac:chgData name="Kim, Woon" userId="c9271a81-0df1-4d40-9eb7-bb662f2e942e" providerId="ADAL" clId="{9CBAAD83-DC3F-48F5-AE6B-C0917D252D31}" dt="2022-08-09T20:33:26.204" v="309" actId="164"/>
          <ac:picMkLst>
            <pc:docMk/>
            <pc:sldMk cId="3412557564" sldId="2145706803"/>
            <ac:picMk id="4" creationId="{11B6E263-167C-1973-8C3F-191D9F00F0F4}"/>
          </ac:picMkLst>
        </pc:picChg>
        <pc:picChg chg="add mod ord modCrop">
          <ac:chgData name="Kim, Woon" userId="c9271a81-0df1-4d40-9eb7-bb662f2e942e" providerId="ADAL" clId="{9CBAAD83-DC3F-48F5-AE6B-C0917D252D31}" dt="2022-08-09T20:33:26.204" v="309" actId="164"/>
          <ac:picMkLst>
            <pc:docMk/>
            <pc:sldMk cId="3412557564" sldId="2145706803"/>
            <ac:picMk id="7" creationId="{A232C964-0721-6A3D-C270-6867880922AC}"/>
          </ac:picMkLst>
        </pc:picChg>
        <pc:picChg chg="del">
          <ac:chgData name="Kim, Woon" userId="c9271a81-0df1-4d40-9eb7-bb662f2e942e" providerId="ADAL" clId="{9CBAAD83-DC3F-48F5-AE6B-C0917D252D31}" dt="2022-08-09T20:31:22.534" v="278" actId="478"/>
          <ac:picMkLst>
            <pc:docMk/>
            <pc:sldMk cId="3412557564" sldId="2145706803"/>
            <ac:picMk id="10" creationId="{4836CADF-AAD5-890E-28DB-2C172C417A87}"/>
          </ac:picMkLst>
        </pc:picChg>
        <pc:picChg chg="del">
          <ac:chgData name="Kim, Woon" userId="c9271a81-0df1-4d40-9eb7-bb662f2e942e" providerId="ADAL" clId="{9CBAAD83-DC3F-48F5-AE6B-C0917D252D31}" dt="2022-08-09T20:31:22.534" v="278" actId="478"/>
          <ac:picMkLst>
            <pc:docMk/>
            <pc:sldMk cId="3412557564" sldId="2145706803"/>
            <ac:picMk id="17" creationId="{10E4DE25-1860-7AB2-AA44-0EC86D9B7BEB}"/>
          </ac:picMkLst>
        </pc:picChg>
      </pc:sldChg>
      <pc:sldChg chg="addSp delSp modSp add mod modNotesTx">
        <pc:chgData name="Kim, Woon" userId="c9271a81-0df1-4d40-9eb7-bb662f2e942e" providerId="ADAL" clId="{9CBAAD83-DC3F-48F5-AE6B-C0917D252D31}" dt="2022-08-10T20:41:38.748" v="4687" actId="20577"/>
        <pc:sldMkLst>
          <pc:docMk/>
          <pc:sldMk cId="1496174846" sldId="2145706804"/>
        </pc:sldMkLst>
        <pc:spChg chg="mod">
          <ac:chgData name="Kim, Woon" userId="c9271a81-0df1-4d40-9eb7-bb662f2e942e" providerId="ADAL" clId="{9CBAAD83-DC3F-48F5-AE6B-C0917D252D31}" dt="2022-08-10T20:34:41.220" v="4554" actId="20577"/>
          <ac:spMkLst>
            <pc:docMk/>
            <pc:sldMk cId="1496174846" sldId="2145706804"/>
            <ac:spMk id="2" creationId="{C6A0D5E8-8A65-490A-9810-5C6E331C096B}"/>
          </ac:spMkLst>
        </pc:spChg>
        <pc:spChg chg="add del mod">
          <ac:chgData name="Kim, Woon" userId="c9271a81-0df1-4d40-9eb7-bb662f2e942e" providerId="ADAL" clId="{9CBAAD83-DC3F-48F5-AE6B-C0917D252D31}" dt="2022-08-10T20:38:00.036" v="4555" actId="21"/>
          <ac:spMkLst>
            <pc:docMk/>
            <pc:sldMk cId="1496174846" sldId="2145706804"/>
            <ac:spMk id="11" creationId="{4B25F775-068F-05EF-1524-EB21919BD6E4}"/>
          </ac:spMkLst>
        </pc:spChg>
        <pc:spChg chg="add mod">
          <ac:chgData name="Kim, Woon" userId="c9271a81-0df1-4d40-9eb7-bb662f2e942e" providerId="ADAL" clId="{9CBAAD83-DC3F-48F5-AE6B-C0917D252D31}" dt="2022-08-10T20:41:38.748" v="4687" actId="20577"/>
          <ac:spMkLst>
            <pc:docMk/>
            <pc:sldMk cId="1496174846" sldId="2145706804"/>
            <ac:spMk id="12" creationId="{59DCD02F-D0D3-7A6B-56DE-3D2E4DBF009C}"/>
          </ac:spMkLst>
        </pc:spChg>
        <pc:spChg chg="add del mod">
          <ac:chgData name="Kim, Woon" userId="c9271a81-0df1-4d40-9eb7-bb662f2e942e" providerId="ADAL" clId="{9CBAAD83-DC3F-48F5-AE6B-C0917D252D31}" dt="2022-08-10T19:45:08.746" v="4210" actId="20577"/>
          <ac:spMkLst>
            <pc:docMk/>
            <pc:sldMk cId="1496174846" sldId="2145706804"/>
            <ac:spMk id="13" creationId="{4B8CF658-BF5D-9DCB-876F-36DA8AA93870}"/>
          </ac:spMkLst>
        </pc:spChg>
        <pc:spChg chg="add mod">
          <ac:chgData name="Kim, Woon" userId="c9271a81-0df1-4d40-9eb7-bb662f2e942e" providerId="ADAL" clId="{9CBAAD83-DC3F-48F5-AE6B-C0917D252D31}" dt="2022-08-10T20:39:18.950" v="4576" actId="20577"/>
          <ac:spMkLst>
            <pc:docMk/>
            <pc:sldMk cId="1496174846" sldId="2145706804"/>
            <ac:spMk id="17" creationId="{AE28309E-B4D7-94F2-1438-C2CB1985259D}"/>
          </ac:spMkLst>
        </pc:spChg>
        <pc:spChg chg="del">
          <ac:chgData name="Kim, Woon" userId="c9271a81-0df1-4d40-9eb7-bb662f2e942e" providerId="ADAL" clId="{9CBAAD83-DC3F-48F5-AE6B-C0917D252D31}" dt="2022-08-09T20:31:39.584" v="283" actId="478"/>
          <ac:spMkLst>
            <pc:docMk/>
            <pc:sldMk cId="1496174846" sldId="2145706804"/>
            <ac:spMk id="199" creationId="{50D6F1B9-854A-458F-8035-79F1866318F1}"/>
          </ac:spMkLst>
        </pc:spChg>
        <pc:spChg chg="del">
          <ac:chgData name="Kim, Woon" userId="c9271a81-0df1-4d40-9eb7-bb662f2e942e" providerId="ADAL" clId="{9CBAAD83-DC3F-48F5-AE6B-C0917D252D31}" dt="2022-08-09T20:31:39.584" v="283" actId="478"/>
          <ac:spMkLst>
            <pc:docMk/>
            <pc:sldMk cId="1496174846" sldId="2145706804"/>
            <ac:spMk id="200" creationId="{292841D7-23AB-4A59-9F37-4561DD7F57ED}"/>
          </ac:spMkLst>
        </pc:spChg>
        <pc:spChg chg="del">
          <ac:chgData name="Kim, Woon" userId="c9271a81-0df1-4d40-9eb7-bb662f2e942e" providerId="ADAL" clId="{9CBAAD83-DC3F-48F5-AE6B-C0917D252D31}" dt="2022-08-09T20:31:39.584" v="283" actId="478"/>
          <ac:spMkLst>
            <pc:docMk/>
            <pc:sldMk cId="1496174846" sldId="2145706804"/>
            <ac:spMk id="201" creationId="{53119D67-75EC-43A5-9558-0AAFA21B8677}"/>
          </ac:spMkLst>
        </pc:spChg>
        <pc:spChg chg="del">
          <ac:chgData name="Kim, Woon" userId="c9271a81-0df1-4d40-9eb7-bb662f2e942e" providerId="ADAL" clId="{9CBAAD83-DC3F-48F5-AE6B-C0917D252D31}" dt="2022-08-09T20:31:39.584" v="283" actId="478"/>
          <ac:spMkLst>
            <pc:docMk/>
            <pc:sldMk cId="1496174846" sldId="2145706804"/>
            <ac:spMk id="204" creationId="{798C67FC-3B74-4F40-BE84-A63875D21961}"/>
          </ac:spMkLst>
        </pc:spChg>
        <pc:spChg chg="del">
          <ac:chgData name="Kim, Woon" userId="c9271a81-0df1-4d40-9eb7-bb662f2e942e" providerId="ADAL" clId="{9CBAAD83-DC3F-48F5-AE6B-C0917D252D31}" dt="2022-08-09T20:31:39.584" v="283" actId="478"/>
          <ac:spMkLst>
            <pc:docMk/>
            <pc:sldMk cId="1496174846" sldId="2145706804"/>
            <ac:spMk id="205" creationId="{B23BA648-DBE6-43E1-A7DD-05A2702C0810}"/>
          </ac:spMkLst>
        </pc:spChg>
        <pc:spChg chg="del">
          <ac:chgData name="Kim, Woon" userId="c9271a81-0df1-4d40-9eb7-bb662f2e942e" providerId="ADAL" clId="{9CBAAD83-DC3F-48F5-AE6B-C0917D252D31}" dt="2022-08-09T20:31:39.584" v="283" actId="478"/>
          <ac:spMkLst>
            <pc:docMk/>
            <pc:sldMk cId="1496174846" sldId="2145706804"/>
            <ac:spMk id="206" creationId="{45C4456D-E606-45BD-811E-0F8855E134CA}"/>
          </ac:spMkLst>
        </pc:spChg>
        <pc:picChg chg="add mod">
          <ac:chgData name="Kim, Woon" userId="c9271a81-0df1-4d40-9eb7-bb662f2e942e" providerId="ADAL" clId="{9CBAAD83-DC3F-48F5-AE6B-C0917D252D31}" dt="2022-08-09T20:31:45.425" v="284"/>
          <ac:picMkLst>
            <pc:docMk/>
            <pc:sldMk cId="1496174846" sldId="2145706804"/>
            <ac:picMk id="14" creationId="{22AEAFB1-69EA-1588-CA0F-2E507E5B8147}"/>
          </ac:picMkLst>
        </pc:picChg>
        <pc:picChg chg="add mod ord">
          <ac:chgData name="Kim, Woon" userId="c9271a81-0df1-4d40-9eb7-bb662f2e942e" providerId="ADAL" clId="{9CBAAD83-DC3F-48F5-AE6B-C0917D252D31}" dt="2022-08-10T20:38:14.385" v="4560" actId="166"/>
          <ac:picMkLst>
            <pc:docMk/>
            <pc:sldMk cId="1496174846" sldId="2145706804"/>
            <ac:picMk id="15" creationId="{C0D0E0A0-BD2D-9A86-054A-45776AF25F1E}"/>
          </ac:picMkLst>
        </pc:picChg>
        <pc:picChg chg="add del mod">
          <ac:chgData name="Kim, Woon" userId="c9271a81-0df1-4d40-9eb7-bb662f2e942e" providerId="ADAL" clId="{9CBAAD83-DC3F-48F5-AE6B-C0917D252D31}" dt="2022-08-10T19:43:59.075" v="4108" actId="478"/>
          <ac:picMkLst>
            <pc:docMk/>
            <pc:sldMk cId="1496174846" sldId="2145706804"/>
            <ac:picMk id="16" creationId="{2B7FCC02-80CE-F12E-5772-030A616D055F}"/>
          </ac:picMkLst>
        </pc:picChg>
        <pc:cxnChg chg="del">
          <ac:chgData name="Kim, Woon" userId="c9271a81-0df1-4d40-9eb7-bb662f2e942e" providerId="ADAL" clId="{9CBAAD83-DC3F-48F5-AE6B-C0917D252D31}" dt="2022-08-09T20:31:39.584" v="283" actId="478"/>
          <ac:cxnSpMkLst>
            <pc:docMk/>
            <pc:sldMk cId="1496174846" sldId="2145706804"/>
            <ac:cxnSpMk id="202" creationId="{2B53E5C9-98AB-4402-A39A-B60EBD3EBBAB}"/>
          </ac:cxnSpMkLst>
        </pc:cxnChg>
        <pc:cxnChg chg="del">
          <ac:chgData name="Kim, Woon" userId="c9271a81-0df1-4d40-9eb7-bb662f2e942e" providerId="ADAL" clId="{9CBAAD83-DC3F-48F5-AE6B-C0917D252D31}" dt="2022-08-09T20:31:39.584" v="283" actId="478"/>
          <ac:cxnSpMkLst>
            <pc:docMk/>
            <pc:sldMk cId="1496174846" sldId="2145706804"/>
            <ac:cxnSpMk id="207" creationId="{3062B607-2C0B-4ABF-91B1-02AE2F34C7EE}"/>
          </ac:cxnSpMkLst>
        </pc:cxnChg>
      </pc:sldChg>
      <pc:sldChg chg="addSp delSp modSp add del mod ord">
        <pc:chgData name="Kim, Woon" userId="c9271a81-0df1-4d40-9eb7-bb662f2e942e" providerId="ADAL" clId="{9CBAAD83-DC3F-48F5-AE6B-C0917D252D31}" dt="2022-08-10T13:22:21.408" v="1481" actId="47"/>
        <pc:sldMkLst>
          <pc:docMk/>
          <pc:sldMk cId="1053212370" sldId="2145706805"/>
        </pc:sldMkLst>
        <pc:spChg chg="add del mod">
          <ac:chgData name="Kim, Woon" userId="c9271a81-0df1-4d40-9eb7-bb662f2e942e" providerId="ADAL" clId="{9CBAAD83-DC3F-48F5-AE6B-C0917D252D31}" dt="2022-08-09T20:56:24.333" v="1190" actId="20577"/>
          <ac:spMkLst>
            <pc:docMk/>
            <pc:sldMk cId="1053212370" sldId="2145706805"/>
            <ac:spMk id="2" creationId="{AA6F49F7-42D7-40BF-9E6B-1FDB9818C092}"/>
          </ac:spMkLst>
        </pc:spChg>
        <pc:spChg chg="add del mod">
          <ac:chgData name="Kim, Woon" userId="c9271a81-0df1-4d40-9eb7-bb662f2e942e" providerId="ADAL" clId="{9CBAAD83-DC3F-48F5-AE6B-C0917D252D31}" dt="2022-08-09T20:38:57.313" v="630" actId="478"/>
          <ac:spMkLst>
            <pc:docMk/>
            <pc:sldMk cId="1053212370" sldId="2145706805"/>
            <ac:spMk id="6" creationId="{D07DEE03-4BA1-3D4C-A471-AB8139B79FE4}"/>
          </ac:spMkLst>
        </pc:spChg>
        <pc:spChg chg="del">
          <ac:chgData name="Kim, Woon" userId="c9271a81-0df1-4d40-9eb7-bb662f2e942e" providerId="ADAL" clId="{9CBAAD83-DC3F-48F5-AE6B-C0917D252D31}" dt="2022-08-09T20:38:31.930" v="585" actId="478"/>
          <ac:spMkLst>
            <pc:docMk/>
            <pc:sldMk cId="1053212370" sldId="2145706805"/>
            <ac:spMk id="9" creationId="{36E8600B-F715-86D9-DEA2-9017258AE80D}"/>
          </ac:spMkLst>
        </pc:spChg>
        <pc:spChg chg="del">
          <ac:chgData name="Kim, Woon" userId="c9271a81-0df1-4d40-9eb7-bb662f2e942e" providerId="ADAL" clId="{9CBAAD83-DC3F-48F5-AE6B-C0917D252D31}" dt="2022-08-09T20:38:25.130" v="584" actId="478"/>
          <ac:spMkLst>
            <pc:docMk/>
            <pc:sldMk cId="1053212370" sldId="2145706805"/>
            <ac:spMk id="11" creationId="{9A9A9CB3-6D19-4635-4B62-0C342B76D7BB}"/>
          </ac:spMkLst>
        </pc:spChg>
        <pc:spChg chg="add mod topLvl">
          <ac:chgData name="Kim, Woon" userId="c9271a81-0df1-4d40-9eb7-bb662f2e942e" providerId="ADAL" clId="{9CBAAD83-DC3F-48F5-AE6B-C0917D252D31}" dt="2022-08-10T13:20:29.302" v="1422" actId="165"/>
          <ac:spMkLst>
            <pc:docMk/>
            <pc:sldMk cId="1053212370" sldId="2145706805"/>
            <ac:spMk id="13" creationId="{16413C4D-8F9B-B617-774D-9263F0EC1382}"/>
          </ac:spMkLst>
        </pc:spChg>
        <pc:spChg chg="del">
          <ac:chgData name="Kim, Woon" userId="c9271a81-0df1-4d40-9eb7-bb662f2e942e" providerId="ADAL" clId="{9CBAAD83-DC3F-48F5-AE6B-C0917D252D31}" dt="2022-08-09T20:38:31.930" v="585" actId="478"/>
          <ac:spMkLst>
            <pc:docMk/>
            <pc:sldMk cId="1053212370" sldId="2145706805"/>
            <ac:spMk id="16" creationId="{5F27909F-FE60-A92E-7D27-F6957EABB653}"/>
          </ac:spMkLst>
        </pc:spChg>
        <pc:spChg chg="add del mod">
          <ac:chgData name="Kim, Woon" userId="c9271a81-0df1-4d40-9eb7-bb662f2e942e" providerId="ADAL" clId="{9CBAAD83-DC3F-48F5-AE6B-C0917D252D31}" dt="2022-08-09T20:38:51.407" v="625"/>
          <ac:spMkLst>
            <pc:docMk/>
            <pc:sldMk cId="1053212370" sldId="2145706805"/>
            <ac:spMk id="17" creationId="{736C68A2-62CD-C17C-CEC8-1EC5BA95E5B2}"/>
          </ac:spMkLst>
        </pc:spChg>
        <pc:spChg chg="add mod">
          <ac:chgData name="Kim, Woon" userId="c9271a81-0df1-4d40-9eb7-bb662f2e942e" providerId="ADAL" clId="{9CBAAD83-DC3F-48F5-AE6B-C0917D252D31}" dt="2022-08-09T20:55:26.518" v="1151" actId="1076"/>
          <ac:spMkLst>
            <pc:docMk/>
            <pc:sldMk cId="1053212370" sldId="2145706805"/>
            <ac:spMk id="19" creationId="{A5DBFDC2-D99C-A051-6A9F-C3A517253CBC}"/>
          </ac:spMkLst>
        </pc:spChg>
        <pc:spChg chg="del">
          <ac:chgData name="Kim, Woon" userId="c9271a81-0df1-4d40-9eb7-bb662f2e942e" providerId="ADAL" clId="{9CBAAD83-DC3F-48F5-AE6B-C0917D252D31}" dt="2022-08-09T20:38:31.930" v="585" actId="478"/>
          <ac:spMkLst>
            <pc:docMk/>
            <pc:sldMk cId="1053212370" sldId="2145706805"/>
            <ac:spMk id="20" creationId="{5B0F14F2-E385-BA81-8AEC-E6341AC5B9BE}"/>
          </ac:spMkLst>
        </pc:spChg>
        <pc:spChg chg="del">
          <ac:chgData name="Kim, Woon" userId="c9271a81-0df1-4d40-9eb7-bb662f2e942e" providerId="ADAL" clId="{9CBAAD83-DC3F-48F5-AE6B-C0917D252D31}" dt="2022-08-09T20:38:31.930" v="585" actId="478"/>
          <ac:spMkLst>
            <pc:docMk/>
            <pc:sldMk cId="1053212370" sldId="2145706805"/>
            <ac:spMk id="21" creationId="{DEB6E261-834F-DDC2-39AA-A8F9163AA304}"/>
          </ac:spMkLst>
        </pc:spChg>
        <pc:spChg chg="del">
          <ac:chgData name="Kim, Woon" userId="c9271a81-0df1-4d40-9eb7-bb662f2e942e" providerId="ADAL" clId="{9CBAAD83-DC3F-48F5-AE6B-C0917D252D31}" dt="2022-08-09T20:38:31.930" v="585" actId="478"/>
          <ac:spMkLst>
            <pc:docMk/>
            <pc:sldMk cId="1053212370" sldId="2145706805"/>
            <ac:spMk id="22" creationId="{40BE8196-8B2B-4D9B-A3EF-223E0383105C}"/>
          </ac:spMkLst>
        </pc:spChg>
        <pc:spChg chg="del">
          <ac:chgData name="Kim, Woon" userId="c9271a81-0df1-4d40-9eb7-bb662f2e942e" providerId="ADAL" clId="{9CBAAD83-DC3F-48F5-AE6B-C0917D252D31}" dt="2022-08-09T20:38:31.930" v="585" actId="478"/>
          <ac:spMkLst>
            <pc:docMk/>
            <pc:sldMk cId="1053212370" sldId="2145706805"/>
            <ac:spMk id="23" creationId="{8A109031-36ED-7DC3-7372-7DCF027E8AAC}"/>
          </ac:spMkLst>
        </pc:spChg>
        <pc:spChg chg="add mod topLvl">
          <ac:chgData name="Kim, Woon" userId="c9271a81-0df1-4d40-9eb7-bb662f2e942e" providerId="ADAL" clId="{9CBAAD83-DC3F-48F5-AE6B-C0917D252D31}" dt="2022-08-10T13:20:29.302" v="1422" actId="165"/>
          <ac:spMkLst>
            <pc:docMk/>
            <pc:sldMk cId="1053212370" sldId="2145706805"/>
            <ac:spMk id="24" creationId="{3A341388-964A-B0F8-CC33-788CF3519044}"/>
          </ac:spMkLst>
        </pc:spChg>
        <pc:spChg chg="add mod topLvl">
          <ac:chgData name="Kim, Woon" userId="c9271a81-0df1-4d40-9eb7-bb662f2e942e" providerId="ADAL" clId="{9CBAAD83-DC3F-48F5-AE6B-C0917D252D31}" dt="2022-08-10T13:20:29.302" v="1422" actId="165"/>
          <ac:spMkLst>
            <pc:docMk/>
            <pc:sldMk cId="1053212370" sldId="2145706805"/>
            <ac:spMk id="25" creationId="{F3CC5206-0EBA-4324-D359-B5352023636C}"/>
          </ac:spMkLst>
        </pc:spChg>
        <pc:spChg chg="add del mod">
          <ac:chgData name="Kim, Woon" userId="c9271a81-0df1-4d40-9eb7-bb662f2e942e" providerId="ADAL" clId="{9CBAAD83-DC3F-48F5-AE6B-C0917D252D31}" dt="2022-08-09T20:40:23.431" v="688" actId="478"/>
          <ac:spMkLst>
            <pc:docMk/>
            <pc:sldMk cId="1053212370" sldId="2145706805"/>
            <ac:spMk id="26" creationId="{644A9B91-1CB7-9D75-2047-3EF360BC74F8}"/>
          </ac:spMkLst>
        </pc:spChg>
        <pc:spChg chg="add del mod">
          <ac:chgData name="Kim, Woon" userId="c9271a81-0df1-4d40-9eb7-bb662f2e942e" providerId="ADAL" clId="{9CBAAD83-DC3F-48F5-AE6B-C0917D252D31}" dt="2022-08-10T13:20:32.958" v="1423" actId="478"/>
          <ac:spMkLst>
            <pc:docMk/>
            <pc:sldMk cId="1053212370" sldId="2145706805"/>
            <ac:spMk id="28" creationId="{D996826F-8A69-E2B4-C10B-4A5E98DD3A13}"/>
          </ac:spMkLst>
        </pc:spChg>
        <pc:spChg chg="add del mod">
          <ac:chgData name="Kim, Woon" userId="c9271a81-0df1-4d40-9eb7-bb662f2e942e" providerId="ADAL" clId="{9CBAAD83-DC3F-48F5-AE6B-C0917D252D31}" dt="2022-08-09T20:56:29.385" v="1192"/>
          <ac:spMkLst>
            <pc:docMk/>
            <pc:sldMk cId="1053212370" sldId="2145706805"/>
            <ac:spMk id="29" creationId="{B46DE164-66D7-5239-4D8B-289E52A907B7}"/>
          </ac:spMkLst>
        </pc:spChg>
        <pc:spChg chg="add del mod">
          <ac:chgData name="Kim, Woon" userId="c9271a81-0df1-4d40-9eb7-bb662f2e942e" providerId="ADAL" clId="{9CBAAD83-DC3F-48F5-AE6B-C0917D252D31}" dt="2022-08-10T13:20:11.068" v="1418" actId="478"/>
          <ac:spMkLst>
            <pc:docMk/>
            <pc:sldMk cId="1053212370" sldId="2145706805"/>
            <ac:spMk id="31" creationId="{A25F0685-C9AA-84B5-42E8-371F48F3E295}"/>
          </ac:spMkLst>
        </pc:spChg>
        <pc:spChg chg="add del mod">
          <ac:chgData name="Kim, Woon" userId="c9271a81-0df1-4d40-9eb7-bb662f2e942e" providerId="ADAL" clId="{9CBAAD83-DC3F-48F5-AE6B-C0917D252D31}" dt="2022-08-10T13:20:11.068" v="1418" actId="478"/>
          <ac:spMkLst>
            <pc:docMk/>
            <pc:sldMk cId="1053212370" sldId="2145706805"/>
            <ac:spMk id="32" creationId="{CE2BE17D-0D32-A258-BBC2-0BCA0E3D43A1}"/>
          </ac:spMkLst>
        </pc:spChg>
        <pc:grpChg chg="del">
          <ac:chgData name="Kim, Woon" userId="c9271a81-0df1-4d40-9eb7-bb662f2e942e" providerId="ADAL" clId="{9CBAAD83-DC3F-48F5-AE6B-C0917D252D31}" dt="2022-08-09T20:38:25.130" v="584" actId="478"/>
          <ac:grpSpMkLst>
            <pc:docMk/>
            <pc:sldMk cId="1053212370" sldId="2145706805"/>
            <ac:grpSpMk id="8" creationId="{D6705DCD-E476-8E9E-C833-709CBF3F29AA}"/>
          </ac:grpSpMkLst>
        </pc:grpChg>
        <pc:grpChg chg="add del mod">
          <ac:chgData name="Kim, Woon" userId="c9271a81-0df1-4d40-9eb7-bb662f2e942e" providerId="ADAL" clId="{9CBAAD83-DC3F-48F5-AE6B-C0917D252D31}" dt="2022-08-09T20:54:49.948" v="1145" actId="165"/>
          <ac:grpSpMkLst>
            <pc:docMk/>
            <pc:sldMk cId="1053212370" sldId="2145706805"/>
            <ac:grpSpMk id="14" creationId="{1E061326-98E7-8811-06C7-FB133E31377B}"/>
          </ac:grpSpMkLst>
        </pc:grpChg>
        <pc:grpChg chg="add del mod">
          <ac:chgData name="Kim, Woon" userId="c9271a81-0df1-4d40-9eb7-bb662f2e942e" providerId="ADAL" clId="{9CBAAD83-DC3F-48F5-AE6B-C0917D252D31}" dt="2022-08-10T13:20:29.302" v="1422" actId="165"/>
          <ac:grpSpMkLst>
            <pc:docMk/>
            <pc:sldMk cId="1053212370" sldId="2145706805"/>
            <ac:grpSpMk id="27" creationId="{5AC5E840-5FC7-1067-178E-0E55488E526C}"/>
          </ac:grpSpMkLst>
        </pc:grpChg>
        <pc:picChg chg="add mod topLvl modCrop">
          <ac:chgData name="Kim, Woon" userId="c9271a81-0df1-4d40-9eb7-bb662f2e942e" providerId="ADAL" clId="{9CBAAD83-DC3F-48F5-AE6B-C0917D252D31}" dt="2022-08-10T13:20:29.302" v="1422" actId="165"/>
          <ac:picMkLst>
            <pc:docMk/>
            <pc:sldMk cId="1053212370" sldId="2145706805"/>
            <ac:picMk id="12" creationId="{41D191AD-311D-17E5-102E-58713E5EFD52}"/>
          </ac:picMkLst>
        </pc:picChg>
        <pc:picChg chg="add del mod">
          <ac:chgData name="Kim, Woon" userId="c9271a81-0df1-4d40-9eb7-bb662f2e942e" providerId="ADAL" clId="{9CBAAD83-DC3F-48F5-AE6B-C0917D252D31}" dt="2022-08-09T20:54:14.378" v="1109" actId="478"/>
          <ac:picMkLst>
            <pc:docMk/>
            <pc:sldMk cId="1053212370" sldId="2145706805"/>
            <ac:picMk id="18" creationId="{8B8735CA-AB9C-EC5C-179A-43E82BB94E32}"/>
          </ac:picMkLst>
        </pc:picChg>
        <pc:picChg chg="add del mod">
          <ac:chgData name="Kim, Woon" userId="c9271a81-0df1-4d40-9eb7-bb662f2e942e" providerId="ADAL" clId="{9CBAAD83-DC3F-48F5-AE6B-C0917D252D31}" dt="2022-08-10T13:20:11.068" v="1418" actId="478"/>
          <ac:picMkLst>
            <pc:docMk/>
            <pc:sldMk cId="1053212370" sldId="2145706805"/>
            <ac:picMk id="30" creationId="{584589C0-8B57-DB06-3D4E-D38BB7304C78}"/>
          </ac:picMkLst>
        </pc:picChg>
      </pc:sldChg>
      <pc:sldChg chg="addSp delSp modSp add del mod">
        <pc:chgData name="Kim, Woon" userId="c9271a81-0df1-4d40-9eb7-bb662f2e942e" providerId="ADAL" clId="{9CBAAD83-DC3F-48F5-AE6B-C0917D252D31}" dt="2022-08-10T13:22:57.845" v="1560" actId="47"/>
        <pc:sldMkLst>
          <pc:docMk/>
          <pc:sldMk cId="2380776995" sldId="2145706806"/>
        </pc:sldMkLst>
        <pc:spChg chg="mod">
          <ac:chgData name="Kim, Woon" userId="c9271a81-0df1-4d40-9eb7-bb662f2e942e" providerId="ADAL" clId="{9CBAAD83-DC3F-48F5-AE6B-C0917D252D31}" dt="2022-08-09T20:56:39.483" v="1196" actId="20577"/>
          <ac:spMkLst>
            <pc:docMk/>
            <pc:sldMk cId="2380776995" sldId="2145706806"/>
            <ac:spMk id="2" creationId="{AA6F49F7-42D7-40BF-9E6B-1FDB9818C092}"/>
          </ac:spMkLst>
        </pc:spChg>
        <pc:spChg chg="add del mod">
          <ac:chgData name="Kim, Woon" userId="c9271a81-0df1-4d40-9eb7-bb662f2e942e" providerId="ADAL" clId="{9CBAAD83-DC3F-48F5-AE6B-C0917D252D31}" dt="2022-08-09T21:09:00.542" v="1365" actId="21"/>
          <ac:spMkLst>
            <pc:docMk/>
            <pc:sldMk cId="2380776995" sldId="2145706806"/>
            <ac:spMk id="14" creationId="{79FED036-9D3F-FB0A-32EB-F48B9B477F63}"/>
          </ac:spMkLst>
        </pc:spChg>
        <pc:spChg chg="add del mod">
          <ac:chgData name="Kim, Woon" userId="c9271a81-0df1-4d40-9eb7-bb662f2e942e" providerId="ADAL" clId="{9CBAAD83-DC3F-48F5-AE6B-C0917D252D31}" dt="2022-08-09T21:09:00.542" v="1365" actId="21"/>
          <ac:spMkLst>
            <pc:docMk/>
            <pc:sldMk cId="2380776995" sldId="2145706806"/>
            <ac:spMk id="15" creationId="{04D4F83F-8103-04E4-60E9-F7B69B643980}"/>
          </ac:spMkLst>
        </pc:spChg>
        <pc:picChg chg="add del mod">
          <ac:chgData name="Kim, Woon" userId="c9271a81-0df1-4d40-9eb7-bb662f2e942e" providerId="ADAL" clId="{9CBAAD83-DC3F-48F5-AE6B-C0917D252D31}" dt="2022-08-09T21:09:00.542" v="1365" actId="21"/>
          <ac:picMkLst>
            <pc:docMk/>
            <pc:sldMk cId="2380776995" sldId="2145706806"/>
            <ac:picMk id="4" creationId="{B987DD38-4ADB-1095-0E6B-BC5299C74EBA}"/>
          </ac:picMkLst>
        </pc:picChg>
      </pc:sldChg>
      <pc:sldChg chg="add del">
        <pc:chgData name="Kim, Woon" userId="c9271a81-0df1-4d40-9eb7-bb662f2e942e" providerId="ADAL" clId="{9CBAAD83-DC3F-48F5-AE6B-C0917D252D31}" dt="2022-08-10T13:22:53.066" v="1559" actId="47"/>
        <pc:sldMkLst>
          <pc:docMk/>
          <pc:sldMk cId="3412776019" sldId="2145706807"/>
        </pc:sldMkLst>
      </pc:sldChg>
      <pc:sldChg chg="add del">
        <pc:chgData name="Kim, Woon" userId="c9271a81-0df1-4d40-9eb7-bb662f2e942e" providerId="ADAL" clId="{9CBAAD83-DC3F-48F5-AE6B-C0917D252D31}" dt="2022-08-10T13:20:16.542" v="1420"/>
        <pc:sldMkLst>
          <pc:docMk/>
          <pc:sldMk cId="348678308" sldId="2145706808"/>
        </pc:sldMkLst>
      </pc:sldChg>
      <pc:sldChg chg="add del">
        <pc:chgData name="Kim, Woon" userId="c9271a81-0df1-4d40-9eb7-bb662f2e942e" providerId="ADAL" clId="{9CBAAD83-DC3F-48F5-AE6B-C0917D252D31}" dt="2022-08-10T13:22:34.237" v="1501" actId="47"/>
        <pc:sldMkLst>
          <pc:docMk/>
          <pc:sldMk cId="686597206" sldId="2145706808"/>
        </pc:sldMkLst>
      </pc:sldChg>
      <pc:sldChg chg="addSp delSp modSp add mod modNotesTx">
        <pc:chgData name="Kim, Woon" userId="c9271a81-0df1-4d40-9eb7-bb662f2e942e" providerId="ADAL" clId="{9CBAAD83-DC3F-48F5-AE6B-C0917D252D31}" dt="2022-08-11T12:58:18.989" v="5580" actId="1076"/>
        <pc:sldMkLst>
          <pc:docMk/>
          <pc:sldMk cId="794262903" sldId="2145706809"/>
        </pc:sldMkLst>
        <pc:spChg chg="del">
          <ac:chgData name="Kim, Woon" userId="c9271a81-0df1-4d40-9eb7-bb662f2e942e" providerId="ADAL" clId="{9CBAAD83-DC3F-48F5-AE6B-C0917D252D31}" dt="2022-08-10T13:20:45.872" v="1427" actId="478"/>
          <ac:spMkLst>
            <pc:docMk/>
            <pc:sldMk cId="794262903" sldId="2145706809"/>
            <ac:spMk id="13" creationId="{16413C4D-8F9B-B617-774D-9263F0EC1382}"/>
          </ac:spMkLst>
        </pc:spChg>
        <pc:spChg chg="add mod">
          <ac:chgData name="Kim, Woon" userId="c9271a81-0df1-4d40-9eb7-bb662f2e942e" providerId="ADAL" clId="{9CBAAD83-DC3F-48F5-AE6B-C0917D252D31}" dt="2022-08-11T12:58:18.989" v="5580" actId="1076"/>
          <ac:spMkLst>
            <pc:docMk/>
            <pc:sldMk cId="794262903" sldId="2145706809"/>
            <ac:spMk id="16" creationId="{8609CA02-C376-8C2D-ACB1-64EB45336E08}"/>
          </ac:spMkLst>
        </pc:spChg>
        <pc:spChg chg="mod">
          <ac:chgData name="Kim, Woon" userId="c9271a81-0df1-4d40-9eb7-bb662f2e942e" providerId="ADAL" clId="{9CBAAD83-DC3F-48F5-AE6B-C0917D252D31}" dt="2022-08-11T12:57:07.591" v="5572" actId="1076"/>
          <ac:spMkLst>
            <pc:docMk/>
            <pc:sldMk cId="794262903" sldId="2145706809"/>
            <ac:spMk id="19" creationId="{A5DBFDC2-D99C-A051-6A9F-C3A517253CBC}"/>
          </ac:spMkLst>
        </pc:spChg>
        <pc:spChg chg="del">
          <ac:chgData name="Kim, Woon" userId="c9271a81-0df1-4d40-9eb7-bb662f2e942e" providerId="ADAL" clId="{9CBAAD83-DC3F-48F5-AE6B-C0917D252D31}" dt="2022-08-10T13:20:45.872" v="1427" actId="478"/>
          <ac:spMkLst>
            <pc:docMk/>
            <pc:sldMk cId="794262903" sldId="2145706809"/>
            <ac:spMk id="24" creationId="{3A341388-964A-B0F8-CC33-788CF3519044}"/>
          </ac:spMkLst>
        </pc:spChg>
        <pc:spChg chg="del">
          <ac:chgData name="Kim, Woon" userId="c9271a81-0df1-4d40-9eb7-bb662f2e942e" providerId="ADAL" clId="{9CBAAD83-DC3F-48F5-AE6B-C0917D252D31}" dt="2022-08-10T13:20:45.872" v="1427" actId="478"/>
          <ac:spMkLst>
            <pc:docMk/>
            <pc:sldMk cId="794262903" sldId="2145706809"/>
            <ac:spMk id="25" creationId="{F3CC5206-0EBA-4324-D359-B5352023636C}"/>
          </ac:spMkLst>
        </pc:spChg>
        <pc:grpChg chg="add mod">
          <ac:chgData name="Kim, Woon" userId="c9271a81-0df1-4d40-9eb7-bb662f2e942e" providerId="ADAL" clId="{9CBAAD83-DC3F-48F5-AE6B-C0917D252D31}" dt="2022-08-11T12:57:49.691" v="5577" actId="1076"/>
          <ac:grpSpMkLst>
            <pc:docMk/>
            <pc:sldMk cId="794262903" sldId="2145706809"/>
            <ac:grpSpMk id="8" creationId="{F8674834-3A2B-B423-FE42-2FA6927B57CF}"/>
          </ac:grpSpMkLst>
        </pc:grpChg>
        <pc:picChg chg="add mod">
          <ac:chgData name="Kim, Woon" userId="c9271a81-0df1-4d40-9eb7-bb662f2e942e" providerId="ADAL" clId="{9CBAAD83-DC3F-48F5-AE6B-C0917D252D31}" dt="2022-08-11T12:57:41.754" v="5576" actId="164"/>
          <ac:picMkLst>
            <pc:docMk/>
            <pc:sldMk cId="794262903" sldId="2145706809"/>
            <ac:picMk id="4" creationId="{F86245A2-E9A6-32B3-B3A8-4152A6D9FB56}"/>
          </ac:picMkLst>
        </pc:picChg>
        <pc:picChg chg="add mod">
          <ac:chgData name="Kim, Woon" userId="c9271a81-0df1-4d40-9eb7-bb662f2e942e" providerId="ADAL" clId="{9CBAAD83-DC3F-48F5-AE6B-C0917D252D31}" dt="2022-08-11T12:57:41.754" v="5576" actId="164"/>
          <ac:picMkLst>
            <pc:docMk/>
            <pc:sldMk cId="794262903" sldId="2145706809"/>
            <ac:picMk id="7" creationId="{C6D13B00-3479-9FE4-28D9-576B16705737}"/>
          </ac:picMkLst>
        </pc:picChg>
        <pc:picChg chg="add del mod modCrop">
          <ac:chgData name="Kim, Woon" userId="c9271a81-0df1-4d40-9eb7-bb662f2e942e" providerId="ADAL" clId="{9CBAAD83-DC3F-48F5-AE6B-C0917D252D31}" dt="2022-08-11T12:54:05.801" v="5398" actId="478"/>
          <ac:picMkLst>
            <pc:docMk/>
            <pc:sldMk cId="794262903" sldId="2145706809"/>
            <ac:picMk id="9" creationId="{AC340F57-F6B7-6B04-7008-082B7C076914}"/>
          </ac:picMkLst>
        </pc:picChg>
        <pc:picChg chg="add del mod">
          <ac:chgData name="Kim, Woon" userId="c9271a81-0df1-4d40-9eb7-bb662f2e942e" providerId="ADAL" clId="{9CBAAD83-DC3F-48F5-AE6B-C0917D252D31}" dt="2022-08-10T21:02:17.742" v="4938"/>
          <ac:picMkLst>
            <pc:docMk/>
            <pc:sldMk cId="794262903" sldId="2145706809"/>
            <ac:picMk id="10" creationId="{365FE651-1AF8-9CD7-4C02-C9E9198F8C65}"/>
          </ac:picMkLst>
        </pc:picChg>
        <pc:picChg chg="del mod modCrop">
          <ac:chgData name="Kim, Woon" userId="c9271a81-0df1-4d40-9eb7-bb662f2e942e" providerId="ADAL" clId="{9CBAAD83-DC3F-48F5-AE6B-C0917D252D31}" dt="2022-08-11T12:54:03.892" v="5397" actId="478"/>
          <ac:picMkLst>
            <pc:docMk/>
            <pc:sldMk cId="794262903" sldId="2145706809"/>
            <ac:picMk id="12" creationId="{41D191AD-311D-17E5-102E-58713E5EFD52}"/>
          </ac:picMkLst>
        </pc:picChg>
      </pc:sldChg>
      <pc:sldChg chg="add del">
        <pc:chgData name="Kim, Woon" userId="c9271a81-0df1-4d40-9eb7-bb662f2e942e" providerId="ADAL" clId="{9CBAAD83-DC3F-48F5-AE6B-C0917D252D31}" dt="2022-08-10T13:20:53.143" v="1429"/>
        <pc:sldMkLst>
          <pc:docMk/>
          <pc:sldMk cId="1150592642" sldId="2145706810"/>
        </pc:sldMkLst>
      </pc:sldChg>
      <pc:sldChg chg="delSp modSp add del mod modNotesTx">
        <pc:chgData name="Kim, Woon" userId="c9271a81-0df1-4d40-9eb7-bb662f2e942e" providerId="ADAL" clId="{9CBAAD83-DC3F-48F5-AE6B-C0917D252D31}" dt="2022-08-10T19:15:37.250" v="3551" actId="47"/>
        <pc:sldMkLst>
          <pc:docMk/>
          <pc:sldMk cId="2133860942" sldId="2145706810"/>
        </pc:sldMkLst>
        <pc:spChg chg="mod">
          <ac:chgData name="Kim, Woon" userId="c9271a81-0df1-4d40-9eb7-bb662f2e942e" providerId="ADAL" clId="{9CBAAD83-DC3F-48F5-AE6B-C0917D252D31}" dt="2022-08-10T18:26:19.676" v="3114" actId="20577"/>
          <ac:spMkLst>
            <pc:docMk/>
            <pc:sldMk cId="2133860942" sldId="2145706810"/>
            <ac:spMk id="19" creationId="{A5DBFDC2-D99C-A051-6A9F-C3A517253CBC}"/>
          </ac:spMkLst>
        </pc:spChg>
        <pc:picChg chg="del">
          <ac:chgData name="Kim, Woon" userId="c9271a81-0df1-4d40-9eb7-bb662f2e942e" providerId="ADAL" clId="{9CBAAD83-DC3F-48F5-AE6B-C0917D252D31}" dt="2022-08-10T13:20:57.846" v="1431" actId="478"/>
          <ac:picMkLst>
            <pc:docMk/>
            <pc:sldMk cId="2133860942" sldId="2145706810"/>
            <ac:picMk id="12" creationId="{41D191AD-311D-17E5-102E-58713E5EFD52}"/>
          </ac:picMkLst>
        </pc:picChg>
      </pc:sldChg>
      <pc:sldChg chg="addSp delSp modSp add del mod">
        <pc:chgData name="Kim, Woon" userId="c9271a81-0df1-4d40-9eb7-bb662f2e942e" providerId="ADAL" clId="{9CBAAD83-DC3F-48F5-AE6B-C0917D252D31}" dt="2022-08-10T13:22:13.714" v="1480" actId="47"/>
        <pc:sldMkLst>
          <pc:docMk/>
          <pc:sldMk cId="608023327" sldId="2145706811"/>
        </pc:sldMkLst>
        <pc:spChg chg="add mod">
          <ac:chgData name="Kim, Woon" userId="c9271a81-0df1-4d40-9eb7-bb662f2e942e" providerId="ADAL" clId="{9CBAAD83-DC3F-48F5-AE6B-C0917D252D31}" dt="2022-08-10T13:21:39.887" v="1473" actId="1036"/>
          <ac:spMkLst>
            <pc:docMk/>
            <pc:sldMk cId="608023327" sldId="2145706811"/>
            <ac:spMk id="8" creationId="{3D17A407-DFB6-DB2F-D9B5-4E76D6BCAC95}"/>
          </ac:spMkLst>
        </pc:spChg>
        <pc:spChg chg="add mod">
          <ac:chgData name="Kim, Woon" userId="c9271a81-0df1-4d40-9eb7-bb662f2e942e" providerId="ADAL" clId="{9CBAAD83-DC3F-48F5-AE6B-C0917D252D31}" dt="2022-08-10T13:21:39.887" v="1473" actId="1036"/>
          <ac:spMkLst>
            <pc:docMk/>
            <pc:sldMk cId="608023327" sldId="2145706811"/>
            <ac:spMk id="9" creationId="{6A458FC7-58D6-2F9B-04CA-79301E14901E}"/>
          </ac:spMkLst>
        </pc:spChg>
        <pc:spChg chg="add mod">
          <ac:chgData name="Kim, Woon" userId="c9271a81-0df1-4d40-9eb7-bb662f2e942e" providerId="ADAL" clId="{9CBAAD83-DC3F-48F5-AE6B-C0917D252D31}" dt="2022-08-10T13:21:39.887" v="1473" actId="1036"/>
          <ac:spMkLst>
            <pc:docMk/>
            <pc:sldMk cId="608023327" sldId="2145706811"/>
            <ac:spMk id="10" creationId="{BCD16678-0962-F83A-3B6C-D6DCC5F9CDCA}"/>
          </ac:spMkLst>
        </pc:spChg>
        <pc:picChg chg="add del mod">
          <ac:chgData name="Kim, Woon" userId="c9271a81-0df1-4d40-9eb7-bb662f2e942e" providerId="ADAL" clId="{9CBAAD83-DC3F-48F5-AE6B-C0917D252D31}" dt="2022-08-10T13:21:21.713" v="1456"/>
          <ac:picMkLst>
            <pc:docMk/>
            <pc:sldMk cId="608023327" sldId="2145706811"/>
            <ac:picMk id="6" creationId="{7A7091B5-93A5-22F7-05E2-94D4AB383BB7}"/>
          </ac:picMkLst>
        </pc:picChg>
        <pc:picChg chg="add mod">
          <ac:chgData name="Kim, Woon" userId="c9271a81-0df1-4d40-9eb7-bb662f2e942e" providerId="ADAL" clId="{9CBAAD83-DC3F-48F5-AE6B-C0917D252D31}" dt="2022-08-10T13:21:39.887" v="1473" actId="1036"/>
          <ac:picMkLst>
            <pc:docMk/>
            <pc:sldMk cId="608023327" sldId="2145706811"/>
            <ac:picMk id="7" creationId="{55CBE3FA-C310-579A-3B55-AA524E940CF6}"/>
          </ac:picMkLst>
        </pc:picChg>
        <pc:picChg chg="del">
          <ac:chgData name="Kim, Woon" userId="c9271a81-0df1-4d40-9eb7-bb662f2e942e" providerId="ADAL" clId="{9CBAAD83-DC3F-48F5-AE6B-C0917D252D31}" dt="2022-08-10T13:21:22.842" v="1457" actId="478"/>
          <ac:picMkLst>
            <pc:docMk/>
            <pc:sldMk cId="608023327" sldId="2145706811"/>
            <ac:picMk id="12" creationId="{41D191AD-311D-17E5-102E-58713E5EFD52}"/>
          </ac:picMkLst>
        </pc:picChg>
      </pc:sldChg>
      <pc:sldChg chg="addSp delSp modSp add del mod modNotesTx">
        <pc:chgData name="Kim, Woon" userId="c9271a81-0df1-4d40-9eb7-bb662f2e942e" providerId="ADAL" clId="{9CBAAD83-DC3F-48F5-AE6B-C0917D252D31}" dt="2022-08-10T21:02:28.527" v="4941" actId="47"/>
        <pc:sldMkLst>
          <pc:docMk/>
          <pc:sldMk cId="313438271" sldId="2145706812"/>
        </pc:sldMkLst>
        <pc:spChg chg="add del mod">
          <ac:chgData name="Kim, Woon" userId="c9271a81-0df1-4d40-9eb7-bb662f2e942e" providerId="ADAL" clId="{9CBAAD83-DC3F-48F5-AE6B-C0917D252D31}" dt="2022-08-10T14:36:43.061" v="1997" actId="478"/>
          <ac:spMkLst>
            <pc:docMk/>
            <pc:sldMk cId="313438271" sldId="2145706812"/>
            <ac:spMk id="6" creationId="{8CB02463-3546-01E6-6E1E-DEAE34B248A0}"/>
          </ac:spMkLst>
        </pc:spChg>
        <pc:spChg chg="add mod">
          <ac:chgData name="Kim, Woon" userId="c9271a81-0df1-4d40-9eb7-bb662f2e942e" providerId="ADAL" clId="{9CBAAD83-DC3F-48F5-AE6B-C0917D252D31}" dt="2022-08-10T13:26:34.776" v="1626" actId="1035"/>
          <ac:spMkLst>
            <pc:docMk/>
            <pc:sldMk cId="313438271" sldId="2145706812"/>
            <ac:spMk id="7" creationId="{83DCDFEB-4A4F-BD4E-0061-7E8D150CC710}"/>
          </ac:spMkLst>
        </pc:spChg>
        <pc:spChg chg="add del mod">
          <ac:chgData name="Kim, Woon" userId="c9271a81-0df1-4d40-9eb7-bb662f2e942e" providerId="ADAL" clId="{9CBAAD83-DC3F-48F5-AE6B-C0917D252D31}" dt="2022-08-10T14:36:43.061" v="1997" actId="478"/>
          <ac:spMkLst>
            <pc:docMk/>
            <pc:sldMk cId="313438271" sldId="2145706812"/>
            <ac:spMk id="8" creationId="{034CEBC0-ED39-0A44-4F12-8260C1B44C4C}"/>
          </ac:spMkLst>
        </pc:spChg>
        <pc:spChg chg="mod">
          <ac:chgData name="Kim, Woon" userId="c9271a81-0df1-4d40-9eb7-bb662f2e942e" providerId="ADAL" clId="{9CBAAD83-DC3F-48F5-AE6B-C0917D252D31}" dt="2022-08-10T13:26:57.301" v="1631" actId="20577"/>
          <ac:spMkLst>
            <pc:docMk/>
            <pc:sldMk cId="313438271" sldId="2145706812"/>
            <ac:spMk id="19" creationId="{A5DBFDC2-D99C-A051-6A9F-C3A517253CBC}"/>
          </ac:spMkLst>
        </pc:spChg>
      </pc:sldChg>
      <pc:sldChg chg="addSp delSp modSp add del mod modNotesTx">
        <pc:chgData name="Kim, Woon" userId="c9271a81-0df1-4d40-9eb7-bb662f2e942e" providerId="ADAL" clId="{9CBAAD83-DC3F-48F5-AE6B-C0917D252D31}" dt="2022-08-10T21:03:03.775" v="4965" actId="47"/>
        <pc:sldMkLst>
          <pc:docMk/>
          <pc:sldMk cId="3414396519" sldId="2145706813"/>
        </pc:sldMkLst>
        <pc:spChg chg="add del">
          <ac:chgData name="Kim, Woon" userId="c9271a81-0df1-4d40-9eb7-bb662f2e942e" providerId="ADAL" clId="{9CBAAD83-DC3F-48F5-AE6B-C0917D252D31}" dt="2022-08-10T14:37:14.588" v="2003" actId="478"/>
          <ac:spMkLst>
            <pc:docMk/>
            <pc:sldMk cId="3414396519" sldId="2145706813"/>
            <ac:spMk id="6" creationId="{8CB02463-3546-01E6-6E1E-DEAE34B248A0}"/>
          </ac:spMkLst>
        </pc:spChg>
        <pc:spChg chg="add del">
          <ac:chgData name="Kim, Woon" userId="c9271a81-0df1-4d40-9eb7-bb662f2e942e" providerId="ADAL" clId="{9CBAAD83-DC3F-48F5-AE6B-C0917D252D31}" dt="2022-08-10T14:37:14.588" v="2003" actId="478"/>
          <ac:spMkLst>
            <pc:docMk/>
            <pc:sldMk cId="3414396519" sldId="2145706813"/>
            <ac:spMk id="7" creationId="{83DCDFEB-4A4F-BD4E-0061-7E8D150CC710}"/>
          </ac:spMkLst>
        </pc:spChg>
        <pc:spChg chg="add del">
          <ac:chgData name="Kim, Woon" userId="c9271a81-0df1-4d40-9eb7-bb662f2e942e" providerId="ADAL" clId="{9CBAAD83-DC3F-48F5-AE6B-C0917D252D31}" dt="2022-08-10T14:37:14.588" v="2003" actId="478"/>
          <ac:spMkLst>
            <pc:docMk/>
            <pc:sldMk cId="3414396519" sldId="2145706813"/>
            <ac:spMk id="8" creationId="{034CEBC0-ED39-0A44-4F12-8260C1B44C4C}"/>
          </ac:spMkLst>
        </pc:spChg>
        <pc:spChg chg="add mod">
          <ac:chgData name="Kim, Woon" userId="c9271a81-0df1-4d40-9eb7-bb662f2e942e" providerId="ADAL" clId="{9CBAAD83-DC3F-48F5-AE6B-C0917D252D31}" dt="2022-08-10T13:22:32.136" v="1500" actId="1035"/>
          <ac:spMkLst>
            <pc:docMk/>
            <pc:sldMk cId="3414396519" sldId="2145706813"/>
            <ac:spMk id="9" creationId="{71A3E9A2-5163-00A6-4828-79BB0CA0C269}"/>
          </ac:spMkLst>
        </pc:spChg>
        <pc:spChg chg="add mod">
          <ac:chgData name="Kim, Woon" userId="c9271a81-0df1-4d40-9eb7-bb662f2e942e" providerId="ADAL" clId="{9CBAAD83-DC3F-48F5-AE6B-C0917D252D31}" dt="2022-08-10T14:37:31.585" v="2005" actId="1076"/>
          <ac:spMkLst>
            <pc:docMk/>
            <pc:sldMk cId="3414396519" sldId="2145706813"/>
            <ac:spMk id="10" creationId="{D779851E-6F62-4CF4-83C0-3B7FF7F77257}"/>
          </ac:spMkLst>
        </pc:spChg>
        <pc:spChg chg="add mod">
          <ac:chgData name="Kim, Woon" userId="c9271a81-0df1-4d40-9eb7-bb662f2e942e" providerId="ADAL" clId="{9CBAAD83-DC3F-48F5-AE6B-C0917D252D31}" dt="2022-08-10T14:38:14.284" v="2018" actId="1076"/>
          <ac:spMkLst>
            <pc:docMk/>
            <pc:sldMk cId="3414396519" sldId="2145706813"/>
            <ac:spMk id="11" creationId="{C6FC338C-D653-5D55-038E-631E87F40766}"/>
          </ac:spMkLst>
        </pc:spChg>
        <pc:spChg chg="mod">
          <ac:chgData name="Kim, Woon" userId="c9271a81-0df1-4d40-9eb7-bb662f2e942e" providerId="ADAL" clId="{9CBAAD83-DC3F-48F5-AE6B-C0917D252D31}" dt="2022-08-10T13:27:19.320" v="1649" actId="20577"/>
          <ac:spMkLst>
            <pc:docMk/>
            <pc:sldMk cId="3414396519" sldId="2145706813"/>
            <ac:spMk id="19" creationId="{A5DBFDC2-D99C-A051-6A9F-C3A517253CBC}"/>
          </ac:spMkLst>
        </pc:spChg>
        <pc:picChg chg="add del">
          <ac:chgData name="Kim, Woon" userId="c9271a81-0df1-4d40-9eb7-bb662f2e942e" providerId="ADAL" clId="{9CBAAD83-DC3F-48F5-AE6B-C0917D252D31}" dt="2022-08-10T14:37:13.206" v="2002" actId="478"/>
          <ac:picMkLst>
            <pc:docMk/>
            <pc:sldMk cId="3414396519" sldId="2145706813"/>
            <ac:picMk id="12" creationId="{41D191AD-311D-17E5-102E-58713E5EFD52}"/>
          </ac:picMkLst>
        </pc:picChg>
      </pc:sldChg>
      <pc:sldChg chg="addSp delSp modSp add del mod ord modShow modNotesTx">
        <pc:chgData name="Kim, Woon" userId="c9271a81-0df1-4d40-9eb7-bb662f2e942e" providerId="ADAL" clId="{9CBAAD83-DC3F-48F5-AE6B-C0917D252D31}" dt="2022-08-10T18:56:51.628" v="3518" actId="47"/>
        <pc:sldMkLst>
          <pc:docMk/>
          <pc:sldMk cId="2537219257" sldId="2145706814"/>
        </pc:sldMkLst>
        <pc:spChg chg="mod">
          <ac:chgData name="Kim, Woon" userId="c9271a81-0df1-4d40-9eb7-bb662f2e942e" providerId="ADAL" clId="{9CBAAD83-DC3F-48F5-AE6B-C0917D252D31}" dt="2022-08-10T14:22:21.639" v="1977" actId="20577"/>
          <ac:spMkLst>
            <pc:docMk/>
            <pc:sldMk cId="2537219257" sldId="2145706814"/>
            <ac:spMk id="2" creationId="{AA6F49F7-42D7-40BF-9E6B-1FDB9818C092}"/>
          </ac:spMkLst>
        </pc:spChg>
        <pc:spChg chg="del">
          <ac:chgData name="Kim, Woon" userId="c9271a81-0df1-4d40-9eb7-bb662f2e942e" providerId="ADAL" clId="{9CBAAD83-DC3F-48F5-AE6B-C0917D252D31}" dt="2022-08-10T14:21:40.917" v="1959" actId="478"/>
          <ac:spMkLst>
            <pc:docMk/>
            <pc:sldMk cId="2537219257" sldId="2145706814"/>
            <ac:spMk id="6" creationId="{8CB02463-3546-01E6-6E1E-DEAE34B248A0}"/>
          </ac:spMkLst>
        </pc:spChg>
        <pc:spChg chg="del">
          <ac:chgData name="Kim, Woon" userId="c9271a81-0df1-4d40-9eb7-bb662f2e942e" providerId="ADAL" clId="{9CBAAD83-DC3F-48F5-AE6B-C0917D252D31}" dt="2022-08-10T14:21:40.917" v="1959" actId="478"/>
          <ac:spMkLst>
            <pc:docMk/>
            <pc:sldMk cId="2537219257" sldId="2145706814"/>
            <ac:spMk id="7" creationId="{83DCDFEB-4A4F-BD4E-0061-7E8D150CC710}"/>
          </ac:spMkLst>
        </pc:spChg>
        <pc:spChg chg="del">
          <ac:chgData name="Kim, Woon" userId="c9271a81-0df1-4d40-9eb7-bb662f2e942e" providerId="ADAL" clId="{9CBAAD83-DC3F-48F5-AE6B-C0917D252D31}" dt="2022-08-10T14:21:40.917" v="1959" actId="478"/>
          <ac:spMkLst>
            <pc:docMk/>
            <pc:sldMk cId="2537219257" sldId="2145706814"/>
            <ac:spMk id="8" creationId="{034CEBC0-ED39-0A44-4F12-8260C1B44C4C}"/>
          </ac:spMkLst>
        </pc:spChg>
        <pc:spChg chg="del">
          <ac:chgData name="Kim, Woon" userId="c9271a81-0df1-4d40-9eb7-bb662f2e942e" providerId="ADAL" clId="{9CBAAD83-DC3F-48F5-AE6B-C0917D252D31}" dt="2022-08-10T14:21:40.917" v="1959" actId="478"/>
          <ac:spMkLst>
            <pc:docMk/>
            <pc:sldMk cId="2537219257" sldId="2145706814"/>
            <ac:spMk id="9" creationId="{71A3E9A2-5163-00A6-4828-79BB0CA0C269}"/>
          </ac:spMkLst>
        </pc:spChg>
        <pc:spChg chg="add mod">
          <ac:chgData name="Kim, Woon" userId="c9271a81-0df1-4d40-9eb7-bb662f2e942e" providerId="ADAL" clId="{9CBAAD83-DC3F-48F5-AE6B-C0917D252D31}" dt="2022-08-10T14:21:50.322" v="1960" actId="1076"/>
          <ac:spMkLst>
            <pc:docMk/>
            <pc:sldMk cId="2537219257" sldId="2145706814"/>
            <ac:spMk id="11" creationId="{B017C4F6-2DA9-AE4E-2996-B52CB80A7691}"/>
          </ac:spMkLst>
        </pc:spChg>
        <pc:spChg chg="add mod">
          <ac:chgData name="Kim, Woon" userId="c9271a81-0df1-4d40-9eb7-bb662f2e942e" providerId="ADAL" clId="{9CBAAD83-DC3F-48F5-AE6B-C0917D252D31}" dt="2022-08-10T14:21:50.322" v="1960" actId="1076"/>
          <ac:spMkLst>
            <pc:docMk/>
            <pc:sldMk cId="2537219257" sldId="2145706814"/>
            <ac:spMk id="13" creationId="{C43881FF-9C81-888D-E3FF-3AB8C8A0B63D}"/>
          </ac:spMkLst>
        </pc:spChg>
        <pc:spChg chg="del mod">
          <ac:chgData name="Kim, Woon" userId="c9271a81-0df1-4d40-9eb7-bb662f2e942e" providerId="ADAL" clId="{9CBAAD83-DC3F-48F5-AE6B-C0917D252D31}" dt="2022-08-10T14:21:35.473" v="1958" actId="478"/>
          <ac:spMkLst>
            <pc:docMk/>
            <pc:sldMk cId="2537219257" sldId="2145706814"/>
            <ac:spMk id="19" creationId="{A5DBFDC2-D99C-A051-6A9F-C3A517253CBC}"/>
          </ac:spMkLst>
        </pc:spChg>
        <pc:picChg chg="add mod">
          <ac:chgData name="Kim, Woon" userId="c9271a81-0df1-4d40-9eb7-bb662f2e942e" providerId="ADAL" clId="{9CBAAD83-DC3F-48F5-AE6B-C0917D252D31}" dt="2022-08-10T14:21:50.322" v="1960" actId="1076"/>
          <ac:picMkLst>
            <pc:docMk/>
            <pc:sldMk cId="2537219257" sldId="2145706814"/>
            <ac:picMk id="10" creationId="{810D8505-177F-ECDE-E934-0B53867AACCF}"/>
          </ac:picMkLst>
        </pc:picChg>
        <pc:picChg chg="del">
          <ac:chgData name="Kim, Woon" userId="c9271a81-0df1-4d40-9eb7-bb662f2e942e" providerId="ADAL" clId="{9CBAAD83-DC3F-48F5-AE6B-C0917D252D31}" dt="2022-08-10T14:21:35.473" v="1958" actId="478"/>
          <ac:picMkLst>
            <pc:docMk/>
            <pc:sldMk cId="2537219257" sldId="2145706814"/>
            <ac:picMk id="12" creationId="{41D191AD-311D-17E5-102E-58713E5EFD52}"/>
          </ac:picMkLst>
        </pc:picChg>
      </pc:sldChg>
      <pc:sldChg chg="addSp modSp add del mod">
        <pc:chgData name="Kim, Woon" userId="c9271a81-0df1-4d40-9eb7-bb662f2e942e" providerId="ADAL" clId="{9CBAAD83-DC3F-48F5-AE6B-C0917D252D31}" dt="2022-08-10T21:03:48.115" v="5047" actId="47"/>
        <pc:sldMkLst>
          <pc:docMk/>
          <pc:sldMk cId="1959601583" sldId="2145706815"/>
        </pc:sldMkLst>
        <pc:spChg chg="mod">
          <ac:chgData name="Kim, Woon" userId="c9271a81-0df1-4d40-9eb7-bb662f2e942e" providerId="ADAL" clId="{9CBAAD83-DC3F-48F5-AE6B-C0917D252D31}" dt="2022-08-10T14:22:29.772" v="1988" actId="20577"/>
          <ac:spMkLst>
            <pc:docMk/>
            <pc:sldMk cId="1959601583" sldId="2145706815"/>
            <ac:spMk id="2" creationId="{AA6F49F7-42D7-40BF-9E6B-1FDB9818C092}"/>
          </ac:spMkLst>
        </pc:spChg>
        <pc:spChg chg="add mod">
          <ac:chgData name="Kim, Woon" userId="c9271a81-0df1-4d40-9eb7-bb662f2e942e" providerId="ADAL" clId="{9CBAAD83-DC3F-48F5-AE6B-C0917D252D31}" dt="2022-08-10T14:37:46.006" v="2014" actId="1037"/>
          <ac:spMkLst>
            <pc:docMk/>
            <pc:sldMk cId="1959601583" sldId="2145706815"/>
            <ac:spMk id="14" creationId="{C38B2EC5-64F2-7A73-A0DA-7CD8248AE431}"/>
          </ac:spMkLst>
        </pc:spChg>
        <pc:spChg chg="add mod">
          <ac:chgData name="Kim, Woon" userId="c9271a81-0df1-4d40-9eb7-bb662f2e942e" providerId="ADAL" clId="{9CBAAD83-DC3F-48F5-AE6B-C0917D252D31}" dt="2022-08-10T14:38:06.679" v="2016" actId="1076"/>
          <ac:spMkLst>
            <pc:docMk/>
            <pc:sldMk cId="1959601583" sldId="2145706815"/>
            <ac:spMk id="15" creationId="{74D7D0F1-2267-2836-6014-D6B01EF469D6}"/>
          </ac:spMkLst>
        </pc:spChg>
      </pc:sldChg>
      <pc:sldChg chg="addSp delSp modSp add mod">
        <pc:chgData name="Kim, Woon" userId="c9271a81-0df1-4d40-9eb7-bb662f2e942e" providerId="ADAL" clId="{9CBAAD83-DC3F-48F5-AE6B-C0917D252D31}" dt="2022-08-11T13:11:31.054" v="5739" actId="14100"/>
        <pc:sldMkLst>
          <pc:docMk/>
          <pc:sldMk cId="3266640431" sldId="2145706816"/>
        </pc:sldMkLst>
        <pc:spChg chg="mod">
          <ac:chgData name="Kim, Woon" userId="c9271a81-0df1-4d40-9eb7-bb662f2e942e" providerId="ADAL" clId="{9CBAAD83-DC3F-48F5-AE6B-C0917D252D31}" dt="2022-08-10T16:56:19.137" v="2619" actId="20577"/>
          <ac:spMkLst>
            <pc:docMk/>
            <pc:sldMk cId="3266640431" sldId="2145706816"/>
            <ac:spMk id="2" creationId="{AA6F49F7-42D7-40BF-9E6B-1FDB9818C092}"/>
          </ac:spMkLst>
        </pc:spChg>
        <pc:spChg chg="del">
          <ac:chgData name="Kim, Woon" userId="c9271a81-0df1-4d40-9eb7-bb662f2e942e" providerId="ADAL" clId="{9CBAAD83-DC3F-48F5-AE6B-C0917D252D31}" dt="2022-08-10T14:26:06.607" v="1995" actId="478"/>
          <ac:spMkLst>
            <pc:docMk/>
            <pc:sldMk cId="3266640431" sldId="2145706816"/>
            <ac:spMk id="6" creationId="{50D32598-8272-5168-EC62-0EE82AB2E059}"/>
          </ac:spMkLst>
        </pc:spChg>
        <pc:spChg chg="del">
          <ac:chgData name="Kim, Woon" userId="c9271a81-0df1-4d40-9eb7-bb662f2e942e" providerId="ADAL" clId="{9CBAAD83-DC3F-48F5-AE6B-C0917D252D31}" dt="2022-08-10T14:26:06.607" v="1995" actId="478"/>
          <ac:spMkLst>
            <pc:docMk/>
            <pc:sldMk cId="3266640431" sldId="2145706816"/>
            <ac:spMk id="7" creationId="{60E29B96-B096-0EFC-97C1-7E919EAEBC0B}"/>
          </ac:spMkLst>
        </pc:spChg>
        <pc:spChg chg="del">
          <ac:chgData name="Kim, Woon" userId="c9271a81-0df1-4d40-9eb7-bb662f2e942e" providerId="ADAL" clId="{9CBAAD83-DC3F-48F5-AE6B-C0917D252D31}" dt="2022-08-10T14:26:06.607" v="1995" actId="478"/>
          <ac:spMkLst>
            <pc:docMk/>
            <pc:sldMk cId="3266640431" sldId="2145706816"/>
            <ac:spMk id="8" creationId="{B00B70B0-77EF-1665-EB54-08E5B849503A}"/>
          </ac:spMkLst>
        </pc:spChg>
        <pc:spChg chg="del">
          <ac:chgData name="Kim, Woon" userId="c9271a81-0df1-4d40-9eb7-bb662f2e942e" providerId="ADAL" clId="{9CBAAD83-DC3F-48F5-AE6B-C0917D252D31}" dt="2022-08-10T14:26:06.607" v="1995" actId="478"/>
          <ac:spMkLst>
            <pc:docMk/>
            <pc:sldMk cId="3266640431" sldId="2145706816"/>
            <ac:spMk id="9" creationId="{9D99C941-CE83-648D-FADD-03B197E0C333}"/>
          </ac:spMkLst>
        </pc:spChg>
        <pc:spChg chg="del">
          <ac:chgData name="Kim, Woon" userId="c9271a81-0df1-4d40-9eb7-bb662f2e942e" providerId="ADAL" clId="{9CBAAD83-DC3F-48F5-AE6B-C0917D252D31}" dt="2022-08-10T14:26:06.607" v="1995" actId="478"/>
          <ac:spMkLst>
            <pc:docMk/>
            <pc:sldMk cId="3266640431" sldId="2145706816"/>
            <ac:spMk id="10" creationId="{84ACB4CD-7397-8357-1B57-E60CDBE07937}"/>
          </ac:spMkLst>
        </pc:spChg>
        <pc:spChg chg="del">
          <ac:chgData name="Kim, Woon" userId="c9271a81-0df1-4d40-9eb7-bb662f2e942e" providerId="ADAL" clId="{9CBAAD83-DC3F-48F5-AE6B-C0917D252D31}" dt="2022-08-10T14:26:06.607" v="1995" actId="478"/>
          <ac:spMkLst>
            <pc:docMk/>
            <pc:sldMk cId="3266640431" sldId="2145706816"/>
            <ac:spMk id="11" creationId="{1BE7A0DD-5316-FE08-5582-215DFEDA72BD}"/>
          </ac:spMkLst>
        </pc:spChg>
        <pc:spChg chg="add mod">
          <ac:chgData name="Kim, Woon" userId="c9271a81-0df1-4d40-9eb7-bb662f2e942e" providerId="ADAL" clId="{9CBAAD83-DC3F-48F5-AE6B-C0917D252D31}" dt="2022-08-10T18:35:39.096" v="3226" actId="20577"/>
          <ac:spMkLst>
            <pc:docMk/>
            <pc:sldMk cId="3266640431" sldId="2145706816"/>
            <ac:spMk id="12" creationId="{D5E767EA-E337-7D25-E992-EF234C07027C}"/>
          </ac:spMkLst>
        </pc:spChg>
        <pc:spChg chg="add mod">
          <ac:chgData name="Kim, Woon" userId="c9271a81-0df1-4d40-9eb7-bb662f2e942e" providerId="ADAL" clId="{9CBAAD83-DC3F-48F5-AE6B-C0917D252D31}" dt="2022-08-11T13:11:31.054" v="5739" actId="14100"/>
          <ac:spMkLst>
            <pc:docMk/>
            <pc:sldMk cId="3266640431" sldId="2145706816"/>
            <ac:spMk id="13" creationId="{5C773FD4-4DE3-E139-1AEE-A997CDEE6432}"/>
          </ac:spMkLst>
        </pc:spChg>
        <pc:graphicFrameChg chg="add mod modGraphic">
          <ac:chgData name="Kim, Woon" userId="c9271a81-0df1-4d40-9eb7-bb662f2e942e" providerId="ADAL" clId="{9CBAAD83-DC3F-48F5-AE6B-C0917D252D31}" dt="2022-08-10T16:56:24.537" v="2622" actId="20577"/>
          <ac:graphicFrameMkLst>
            <pc:docMk/>
            <pc:sldMk cId="3266640431" sldId="2145706816"/>
            <ac:graphicFrameMk id="3" creationId="{18A9C2A8-4B30-0BDB-E223-4309416A2FC5}"/>
          </ac:graphicFrameMkLst>
        </pc:graphicFrameChg>
        <pc:picChg chg="del">
          <ac:chgData name="Kim, Woon" userId="c9271a81-0df1-4d40-9eb7-bb662f2e942e" providerId="ADAL" clId="{9CBAAD83-DC3F-48F5-AE6B-C0917D252D31}" dt="2022-08-10T14:26:06.607" v="1995" actId="478"/>
          <ac:picMkLst>
            <pc:docMk/>
            <pc:sldMk cId="3266640431" sldId="2145706816"/>
            <ac:picMk id="4" creationId="{6496A993-92FD-AD91-9698-748958D4797B}"/>
          </ac:picMkLst>
        </pc:picChg>
      </pc:sldChg>
      <pc:sldChg chg="delSp add del mod">
        <pc:chgData name="Kim, Woon" userId="c9271a81-0df1-4d40-9eb7-bb662f2e942e" providerId="ADAL" clId="{9CBAAD83-DC3F-48F5-AE6B-C0917D252D31}" dt="2022-08-10T21:02:50.512" v="4964" actId="47"/>
        <pc:sldMkLst>
          <pc:docMk/>
          <pc:sldMk cId="3310758373" sldId="2145706817"/>
        </pc:sldMkLst>
        <pc:spChg chg="del">
          <ac:chgData name="Kim, Woon" userId="c9271a81-0df1-4d40-9eb7-bb662f2e942e" providerId="ADAL" clId="{9CBAAD83-DC3F-48F5-AE6B-C0917D252D31}" dt="2022-08-10T14:36:46.997" v="1998" actId="478"/>
          <ac:spMkLst>
            <pc:docMk/>
            <pc:sldMk cId="3310758373" sldId="2145706817"/>
            <ac:spMk id="7" creationId="{83DCDFEB-4A4F-BD4E-0061-7E8D150CC710}"/>
          </ac:spMkLst>
        </pc:spChg>
      </pc:sldChg>
      <pc:sldChg chg="add del">
        <pc:chgData name="Kim, Woon" userId="c9271a81-0df1-4d40-9eb7-bb662f2e942e" providerId="ADAL" clId="{9CBAAD83-DC3F-48F5-AE6B-C0917D252D31}" dt="2022-08-10T21:02:35.808" v="4943" actId="47"/>
        <pc:sldMkLst>
          <pc:docMk/>
          <pc:sldMk cId="2331705252" sldId="2145706818"/>
        </pc:sldMkLst>
      </pc:sldChg>
      <pc:sldChg chg="add del">
        <pc:chgData name="Kim, Woon" userId="c9271a81-0df1-4d40-9eb7-bb662f2e942e" providerId="ADAL" clId="{9CBAAD83-DC3F-48F5-AE6B-C0917D252D31}" dt="2022-08-10T21:03:03.775" v="4965" actId="47"/>
        <pc:sldMkLst>
          <pc:docMk/>
          <pc:sldMk cId="1781719890" sldId="2145706819"/>
        </pc:sldMkLst>
      </pc:sldChg>
      <pc:sldChg chg="addSp delSp modSp add mod modNotesTx">
        <pc:chgData name="Kim, Woon" userId="c9271a81-0df1-4d40-9eb7-bb662f2e942e" providerId="ADAL" clId="{9CBAAD83-DC3F-48F5-AE6B-C0917D252D31}" dt="2022-08-11T13:06:25.597" v="5717" actId="20577"/>
        <pc:sldMkLst>
          <pc:docMk/>
          <pc:sldMk cId="3147499754" sldId="2145706820"/>
        </pc:sldMkLst>
        <pc:spChg chg="mod">
          <ac:chgData name="Kim, Woon" userId="c9271a81-0df1-4d40-9eb7-bb662f2e942e" providerId="ADAL" clId="{9CBAAD83-DC3F-48F5-AE6B-C0917D252D31}" dt="2022-08-10T18:01:33.865" v="2770" actId="20577"/>
          <ac:spMkLst>
            <pc:docMk/>
            <pc:sldMk cId="3147499754" sldId="2145706820"/>
            <ac:spMk id="2" creationId="{AA6F49F7-42D7-40BF-9E6B-1FDB9818C092}"/>
          </ac:spMkLst>
        </pc:spChg>
        <pc:spChg chg="add mod">
          <ac:chgData name="Kim, Woon" userId="c9271a81-0df1-4d40-9eb7-bb662f2e942e" providerId="ADAL" clId="{9CBAAD83-DC3F-48F5-AE6B-C0917D252D31}" dt="2022-08-11T13:06:25.597" v="5717" actId="20577"/>
          <ac:spMkLst>
            <pc:docMk/>
            <pc:sldMk cId="3147499754" sldId="2145706820"/>
            <ac:spMk id="9" creationId="{F9633ABE-6323-B3D7-49E5-03D93B099F41}"/>
          </ac:spMkLst>
        </pc:spChg>
        <pc:spChg chg="del">
          <ac:chgData name="Kim, Woon" userId="c9271a81-0df1-4d40-9eb7-bb662f2e942e" providerId="ADAL" clId="{9CBAAD83-DC3F-48F5-AE6B-C0917D252D31}" dt="2022-08-10T16:25:57.987" v="2360" actId="478"/>
          <ac:spMkLst>
            <pc:docMk/>
            <pc:sldMk cId="3147499754" sldId="2145706820"/>
            <ac:spMk id="11" creationId="{B017C4F6-2DA9-AE4E-2996-B52CB80A7691}"/>
          </ac:spMkLst>
        </pc:spChg>
        <pc:spChg chg="add mod">
          <ac:chgData name="Kim, Woon" userId="c9271a81-0df1-4d40-9eb7-bb662f2e942e" providerId="ADAL" clId="{9CBAAD83-DC3F-48F5-AE6B-C0917D252D31}" dt="2022-08-10T18:49:31.901" v="3365" actId="1076"/>
          <ac:spMkLst>
            <pc:docMk/>
            <pc:sldMk cId="3147499754" sldId="2145706820"/>
            <ac:spMk id="12" creationId="{73A70313-2968-854E-CF39-50AAC976DE78}"/>
          </ac:spMkLst>
        </pc:spChg>
        <pc:spChg chg="del">
          <ac:chgData name="Kim, Woon" userId="c9271a81-0df1-4d40-9eb7-bb662f2e942e" providerId="ADAL" clId="{9CBAAD83-DC3F-48F5-AE6B-C0917D252D31}" dt="2022-08-10T16:25:57.987" v="2360" actId="478"/>
          <ac:spMkLst>
            <pc:docMk/>
            <pc:sldMk cId="3147499754" sldId="2145706820"/>
            <ac:spMk id="13" creationId="{C43881FF-9C81-888D-E3FF-3AB8C8A0B63D}"/>
          </ac:spMkLst>
        </pc:spChg>
        <pc:picChg chg="add mod">
          <ac:chgData name="Kim, Woon" userId="c9271a81-0df1-4d40-9eb7-bb662f2e942e" providerId="ADAL" clId="{9CBAAD83-DC3F-48F5-AE6B-C0917D252D31}" dt="2022-08-11T13:05:36.935" v="5715" actId="14826"/>
          <ac:picMkLst>
            <pc:docMk/>
            <pc:sldMk cId="3147499754" sldId="2145706820"/>
            <ac:picMk id="4" creationId="{E3B5B15E-0C5F-3A01-5F13-69FB3436EBB6}"/>
          </ac:picMkLst>
        </pc:picChg>
        <pc:picChg chg="del">
          <ac:chgData name="Kim, Woon" userId="c9271a81-0df1-4d40-9eb7-bb662f2e942e" providerId="ADAL" clId="{9CBAAD83-DC3F-48F5-AE6B-C0917D252D31}" dt="2022-08-10T16:25:57.987" v="2360" actId="478"/>
          <ac:picMkLst>
            <pc:docMk/>
            <pc:sldMk cId="3147499754" sldId="2145706820"/>
            <ac:picMk id="10" creationId="{810D8505-177F-ECDE-E934-0B53867AACCF}"/>
          </ac:picMkLst>
        </pc:picChg>
      </pc:sldChg>
      <pc:sldChg chg="modSp add del mod">
        <pc:chgData name="Kim, Woon" userId="c9271a81-0df1-4d40-9eb7-bb662f2e942e" providerId="ADAL" clId="{9CBAAD83-DC3F-48F5-AE6B-C0917D252D31}" dt="2022-08-10T18:03:08.056" v="2790" actId="47"/>
        <pc:sldMkLst>
          <pc:docMk/>
          <pc:sldMk cId="1131410854" sldId="2145706821"/>
        </pc:sldMkLst>
        <pc:spChg chg="mod">
          <ac:chgData name="Kim, Woon" userId="c9271a81-0df1-4d40-9eb7-bb662f2e942e" providerId="ADAL" clId="{9CBAAD83-DC3F-48F5-AE6B-C0917D252D31}" dt="2022-08-10T18:01:59.283" v="2788" actId="20577"/>
          <ac:spMkLst>
            <pc:docMk/>
            <pc:sldMk cId="1131410854" sldId="2145706821"/>
            <ac:spMk id="2" creationId="{AA6F49F7-42D7-40BF-9E6B-1FDB9818C092}"/>
          </ac:spMkLst>
        </pc:spChg>
        <pc:picChg chg="mod">
          <ac:chgData name="Kim, Woon" userId="c9271a81-0df1-4d40-9eb7-bb662f2e942e" providerId="ADAL" clId="{9CBAAD83-DC3F-48F5-AE6B-C0917D252D31}" dt="2022-08-10T18:02:04.597" v="2789" actId="14826"/>
          <ac:picMkLst>
            <pc:docMk/>
            <pc:sldMk cId="1131410854" sldId="2145706821"/>
            <ac:picMk id="4" creationId="{E3B5B15E-0C5F-3A01-5F13-69FB3436EBB6}"/>
          </ac:picMkLst>
        </pc:picChg>
      </pc:sldChg>
      <pc:sldChg chg="addSp delSp modSp add del mod ord">
        <pc:chgData name="Kim, Woon" userId="c9271a81-0df1-4d40-9eb7-bb662f2e942e" providerId="ADAL" clId="{9CBAAD83-DC3F-48F5-AE6B-C0917D252D31}" dt="2022-08-10T18:51:11.484" v="3413" actId="47"/>
        <pc:sldMkLst>
          <pc:docMk/>
          <pc:sldMk cId="3030007517" sldId="2145706822"/>
        </pc:sldMkLst>
        <pc:spChg chg="mod">
          <ac:chgData name="Kim, Woon" userId="c9271a81-0df1-4d40-9eb7-bb662f2e942e" providerId="ADAL" clId="{9CBAAD83-DC3F-48F5-AE6B-C0917D252D31}" dt="2022-08-10T18:01:47.504" v="2778" actId="20577"/>
          <ac:spMkLst>
            <pc:docMk/>
            <pc:sldMk cId="3030007517" sldId="2145706822"/>
            <ac:spMk id="2" creationId="{AA6F49F7-42D7-40BF-9E6B-1FDB9818C092}"/>
          </ac:spMkLst>
        </pc:spChg>
        <pc:spChg chg="add del mod">
          <ac:chgData name="Kim, Woon" userId="c9271a81-0df1-4d40-9eb7-bb662f2e942e" providerId="ADAL" clId="{9CBAAD83-DC3F-48F5-AE6B-C0917D252D31}" dt="2022-08-10T18:04:22.600" v="2876"/>
          <ac:spMkLst>
            <pc:docMk/>
            <pc:sldMk cId="3030007517" sldId="2145706822"/>
            <ac:spMk id="6" creationId="{B16ACB49-8EEE-3B45-1F66-E95A8F94DA0C}"/>
          </ac:spMkLst>
        </pc:spChg>
        <pc:spChg chg="add del mod">
          <ac:chgData name="Kim, Woon" userId="c9271a81-0df1-4d40-9eb7-bb662f2e942e" providerId="ADAL" clId="{9CBAAD83-DC3F-48F5-AE6B-C0917D252D31}" dt="2022-08-10T18:04:22.600" v="2876"/>
          <ac:spMkLst>
            <pc:docMk/>
            <pc:sldMk cId="3030007517" sldId="2145706822"/>
            <ac:spMk id="7" creationId="{6961FB0F-88A1-8DE0-E0E2-30D461585E4C}"/>
          </ac:spMkLst>
        </pc:spChg>
        <pc:spChg chg="add del mod">
          <ac:chgData name="Kim, Woon" userId="c9271a81-0df1-4d40-9eb7-bb662f2e942e" providerId="ADAL" clId="{9CBAAD83-DC3F-48F5-AE6B-C0917D252D31}" dt="2022-08-10T18:50:17.610" v="3393" actId="478"/>
          <ac:spMkLst>
            <pc:docMk/>
            <pc:sldMk cId="3030007517" sldId="2145706822"/>
            <ac:spMk id="8" creationId="{68987521-8738-BFD3-0216-856E72E1BE3D}"/>
          </ac:spMkLst>
        </pc:spChg>
        <pc:spChg chg="add del mod">
          <ac:chgData name="Kim, Woon" userId="c9271a81-0df1-4d40-9eb7-bb662f2e942e" providerId="ADAL" clId="{9CBAAD83-DC3F-48F5-AE6B-C0917D252D31}" dt="2022-08-10T18:50:17.610" v="3393" actId="478"/>
          <ac:spMkLst>
            <pc:docMk/>
            <pc:sldMk cId="3030007517" sldId="2145706822"/>
            <ac:spMk id="9" creationId="{7D07D37D-6710-55C4-610E-C743F22AE4BB}"/>
          </ac:spMkLst>
        </pc:spChg>
        <pc:spChg chg="add mod">
          <ac:chgData name="Kim, Woon" userId="c9271a81-0df1-4d40-9eb7-bb662f2e942e" providerId="ADAL" clId="{9CBAAD83-DC3F-48F5-AE6B-C0917D252D31}" dt="2022-08-10T18:50:22.925" v="3401" actId="20577"/>
          <ac:spMkLst>
            <pc:docMk/>
            <pc:sldMk cId="3030007517" sldId="2145706822"/>
            <ac:spMk id="10" creationId="{E3B8539A-0E71-6FAC-EAB2-76BC9CF0FEA0}"/>
          </ac:spMkLst>
        </pc:spChg>
        <pc:spChg chg="add mod">
          <ac:chgData name="Kim, Woon" userId="c9271a81-0df1-4d40-9eb7-bb662f2e942e" providerId="ADAL" clId="{9CBAAD83-DC3F-48F5-AE6B-C0917D252D31}" dt="2022-08-10T18:50:12.479" v="3391"/>
          <ac:spMkLst>
            <pc:docMk/>
            <pc:sldMk cId="3030007517" sldId="2145706822"/>
            <ac:spMk id="11" creationId="{1738EFD5-1E6A-733B-8A93-067E5F32A2D5}"/>
          </ac:spMkLst>
        </pc:spChg>
        <pc:picChg chg="mod">
          <ac:chgData name="Kim, Woon" userId="c9271a81-0df1-4d40-9eb7-bb662f2e942e" providerId="ADAL" clId="{9CBAAD83-DC3F-48F5-AE6B-C0917D252D31}" dt="2022-08-10T18:49:22.480" v="3363" actId="14826"/>
          <ac:picMkLst>
            <pc:docMk/>
            <pc:sldMk cId="3030007517" sldId="2145706822"/>
            <ac:picMk id="4" creationId="{E3B5B15E-0C5F-3A01-5F13-69FB3436EBB6}"/>
          </ac:picMkLst>
        </pc:picChg>
      </pc:sldChg>
      <pc:sldChg chg="delSp add del mod ord modShow">
        <pc:chgData name="Kim, Woon" userId="c9271a81-0df1-4d40-9eb7-bb662f2e942e" providerId="ADAL" clId="{9CBAAD83-DC3F-48F5-AE6B-C0917D252D31}" dt="2022-08-10T18:34:39.478" v="3224"/>
        <pc:sldMkLst>
          <pc:docMk/>
          <pc:sldMk cId="2358540596" sldId="2145706823"/>
        </pc:sldMkLst>
        <pc:spChg chg="del">
          <ac:chgData name="Kim, Woon" userId="c9271a81-0df1-4d40-9eb7-bb662f2e942e" providerId="ADAL" clId="{9CBAAD83-DC3F-48F5-AE6B-C0917D252D31}" dt="2022-08-10T18:34:22.057" v="3222" actId="478"/>
          <ac:spMkLst>
            <pc:docMk/>
            <pc:sldMk cId="2358540596" sldId="2145706823"/>
            <ac:spMk id="10" creationId="{B9FEF941-7B7D-A5F7-D7AD-0BA529024E52}"/>
          </ac:spMkLst>
        </pc:spChg>
      </pc:sldChg>
      <pc:sldChg chg="addSp delSp modSp add mod">
        <pc:chgData name="Kim, Woon" userId="c9271a81-0df1-4d40-9eb7-bb662f2e942e" providerId="ADAL" clId="{9CBAAD83-DC3F-48F5-AE6B-C0917D252D31}" dt="2022-08-10T21:05:52.592" v="5077" actId="164"/>
        <pc:sldMkLst>
          <pc:docMk/>
          <pc:sldMk cId="1609515816" sldId="2145706824"/>
        </pc:sldMkLst>
        <pc:spChg chg="mod">
          <ac:chgData name="Kim, Woon" userId="c9271a81-0df1-4d40-9eb7-bb662f2e942e" providerId="ADAL" clId="{9CBAAD83-DC3F-48F5-AE6B-C0917D252D31}" dt="2022-08-10T18:43:02.450" v="3344" actId="20577"/>
          <ac:spMkLst>
            <pc:docMk/>
            <pc:sldMk cId="1609515816" sldId="2145706824"/>
            <ac:spMk id="2" creationId="{AA6F49F7-42D7-40BF-9E6B-1FDB9818C092}"/>
          </ac:spMkLst>
        </pc:spChg>
        <pc:spChg chg="del">
          <ac:chgData name="Kim, Woon" userId="c9271a81-0df1-4d40-9eb7-bb662f2e942e" providerId="ADAL" clId="{9CBAAD83-DC3F-48F5-AE6B-C0917D252D31}" dt="2022-08-10T18:39:53.967" v="3275" actId="478"/>
          <ac:spMkLst>
            <pc:docMk/>
            <pc:sldMk cId="1609515816" sldId="2145706824"/>
            <ac:spMk id="9" creationId="{F9633ABE-6323-B3D7-49E5-03D93B099F41}"/>
          </ac:spMkLst>
        </pc:spChg>
        <pc:spChg chg="add mod">
          <ac:chgData name="Kim, Woon" userId="c9271a81-0df1-4d40-9eb7-bb662f2e942e" providerId="ADAL" clId="{9CBAAD83-DC3F-48F5-AE6B-C0917D252D31}" dt="2022-08-10T19:36:41.393" v="3788" actId="1076"/>
          <ac:spMkLst>
            <pc:docMk/>
            <pc:sldMk cId="1609515816" sldId="2145706824"/>
            <ac:spMk id="11" creationId="{AE7EDBAC-0EF6-2FC1-33CD-9A99A2024BB5}"/>
          </ac:spMkLst>
        </pc:spChg>
        <pc:spChg chg="del">
          <ac:chgData name="Kim, Woon" userId="c9271a81-0df1-4d40-9eb7-bb662f2e942e" providerId="ADAL" clId="{9CBAAD83-DC3F-48F5-AE6B-C0917D252D31}" dt="2022-08-10T18:39:53.967" v="3275" actId="478"/>
          <ac:spMkLst>
            <pc:docMk/>
            <pc:sldMk cId="1609515816" sldId="2145706824"/>
            <ac:spMk id="12" creationId="{73A70313-2968-854E-CF39-50AAC976DE78}"/>
          </ac:spMkLst>
        </pc:spChg>
        <pc:spChg chg="add mod">
          <ac:chgData name="Kim, Woon" userId="c9271a81-0df1-4d40-9eb7-bb662f2e942e" providerId="ADAL" clId="{9CBAAD83-DC3F-48F5-AE6B-C0917D252D31}" dt="2022-08-10T19:36:41.393" v="3788" actId="1076"/>
          <ac:spMkLst>
            <pc:docMk/>
            <pc:sldMk cId="1609515816" sldId="2145706824"/>
            <ac:spMk id="13" creationId="{2DD22B65-7B3A-E05C-870D-3161CC898FAF}"/>
          </ac:spMkLst>
        </pc:spChg>
        <pc:grpChg chg="add mod">
          <ac:chgData name="Kim, Woon" userId="c9271a81-0df1-4d40-9eb7-bb662f2e942e" providerId="ADAL" clId="{9CBAAD83-DC3F-48F5-AE6B-C0917D252D31}" dt="2022-08-10T21:05:52.592" v="5077" actId="164"/>
          <ac:grpSpMkLst>
            <pc:docMk/>
            <pc:sldMk cId="1609515816" sldId="2145706824"/>
            <ac:grpSpMk id="10" creationId="{1AE7E1EB-A7CF-AC7B-FE60-AC2804E558E8}"/>
          </ac:grpSpMkLst>
        </pc:grpChg>
        <pc:picChg chg="del">
          <ac:chgData name="Kim, Woon" userId="c9271a81-0df1-4d40-9eb7-bb662f2e942e" providerId="ADAL" clId="{9CBAAD83-DC3F-48F5-AE6B-C0917D252D31}" dt="2022-08-10T18:39:53.967" v="3275" actId="478"/>
          <ac:picMkLst>
            <pc:docMk/>
            <pc:sldMk cId="1609515816" sldId="2145706824"/>
            <ac:picMk id="4" creationId="{E3B5B15E-0C5F-3A01-5F13-69FB3436EBB6}"/>
          </ac:picMkLst>
        </pc:picChg>
        <pc:picChg chg="add mod">
          <ac:chgData name="Kim, Woon" userId="c9271a81-0df1-4d40-9eb7-bb662f2e942e" providerId="ADAL" clId="{9CBAAD83-DC3F-48F5-AE6B-C0917D252D31}" dt="2022-08-10T21:04:53.929" v="5059" actId="14100"/>
          <ac:picMkLst>
            <pc:docMk/>
            <pc:sldMk cId="1609515816" sldId="2145706824"/>
            <ac:picMk id="6" creationId="{7C7305E2-AAFF-B001-E135-31BC58B72A30}"/>
          </ac:picMkLst>
        </pc:picChg>
        <pc:picChg chg="add mod modCrop">
          <ac:chgData name="Kim, Woon" userId="c9271a81-0df1-4d40-9eb7-bb662f2e942e" providerId="ADAL" clId="{9CBAAD83-DC3F-48F5-AE6B-C0917D252D31}" dt="2022-08-10T21:05:52.592" v="5077" actId="164"/>
          <ac:picMkLst>
            <pc:docMk/>
            <pc:sldMk cId="1609515816" sldId="2145706824"/>
            <ac:picMk id="8" creationId="{0D24D854-8654-2E63-B75C-4F5506461127}"/>
          </ac:picMkLst>
        </pc:picChg>
        <pc:picChg chg="add mod modCrop">
          <ac:chgData name="Kim, Woon" userId="c9271a81-0df1-4d40-9eb7-bb662f2e942e" providerId="ADAL" clId="{9CBAAD83-DC3F-48F5-AE6B-C0917D252D31}" dt="2022-08-10T21:05:52.592" v="5077" actId="164"/>
          <ac:picMkLst>
            <pc:docMk/>
            <pc:sldMk cId="1609515816" sldId="2145706824"/>
            <ac:picMk id="14" creationId="{03D9141E-72F1-F4DA-0DB4-7994B811FCA3}"/>
          </ac:picMkLst>
        </pc:picChg>
      </pc:sldChg>
      <pc:sldChg chg="addSp modSp add del mod modNotesTx">
        <pc:chgData name="Kim, Woon" userId="c9271a81-0df1-4d40-9eb7-bb662f2e942e" providerId="ADAL" clId="{9CBAAD83-DC3F-48F5-AE6B-C0917D252D31}" dt="2022-08-10T21:07:03.639" v="5093" actId="47"/>
        <pc:sldMkLst>
          <pc:docMk/>
          <pc:sldMk cId="2766944985" sldId="2145706825"/>
        </pc:sldMkLst>
        <pc:spChg chg="add mod">
          <ac:chgData name="Kim, Woon" userId="c9271a81-0df1-4d40-9eb7-bb662f2e942e" providerId="ADAL" clId="{9CBAAD83-DC3F-48F5-AE6B-C0917D252D31}" dt="2022-08-10T19:40:04.542" v="3899" actId="1036"/>
          <ac:spMkLst>
            <pc:docMk/>
            <pc:sldMk cId="2766944985" sldId="2145706825"/>
            <ac:spMk id="7" creationId="{D5679B2B-55C9-834B-0EB9-A6E7FD388CC9}"/>
          </ac:spMkLst>
        </pc:spChg>
        <pc:spChg chg="add mod">
          <ac:chgData name="Kim, Woon" userId="c9271a81-0df1-4d40-9eb7-bb662f2e942e" providerId="ADAL" clId="{9CBAAD83-DC3F-48F5-AE6B-C0917D252D31}" dt="2022-08-10T19:40:04.542" v="3899" actId="1036"/>
          <ac:spMkLst>
            <pc:docMk/>
            <pc:sldMk cId="2766944985" sldId="2145706825"/>
            <ac:spMk id="9" creationId="{675FAFF2-A7FF-8CB5-E079-C28927C2C370}"/>
          </ac:spMkLst>
        </pc:spChg>
        <pc:grpChg chg="add mod">
          <ac:chgData name="Kim, Woon" userId="c9271a81-0df1-4d40-9eb7-bb662f2e942e" providerId="ADAL" clId="{9CBAAD83-DC3F-48F5-AE6B-C0917D252D31}" dt="2022-08-10T21:06:01.708" v="5081" actId="1076"/>
          <ac:grpSpMkLst>
            <pc:docMk/>
            <pc:sldMk cId="2766944985" sldId="2145706825"/>
            <ac:grpSpMk id="3" creationId="{F61295F7-528B-7063-CF02-DEBBBE83D41E}"/>
          </ac:grpSpMkLst>
        </pc:grpChg>
        <pc:picChg chg="mod modCrop">
          <ac:chgData name="Kim, Woon" userId="c9271a81-0df1-4d40-9eb7-bb662f2e942e" providerId="ADAL" clId="{9CBAAD83-DC3F-48F5-AE6B-C0917D252D31}" dt="2022-08-10T21:05:47.349" v="5076" actId="164"/>
          <ac:picMkLst>
            <pc:docMk/>
            <pc:sldMk cId="2766944985" sldId="2145706825"/>
            <ac:picMk id="6" creationId="{7C7305E2-AAFF-B001-E135-31BC58B72A30}"/>
          </ac:picMkLst>
        </pc:picChg>
        <pc:picChg chg="mod">
          <ac:chgData name="Kim, Woon" userId="c9271a81-0df1-4d40-9eb7-bb662f2e942e" providerId="ADAL" clId="{9CBAAD83-DC3F-48F5-AE6B-C0917D252D31}" dt="2022-08-10T21:06:03.035" v="5082" actId="1076"/>
          <ac:picMkLst>
            <pc:docMk/>
            <pc:sldMk cId="2766944985" sldId="2145706825"/>
            <ac:picMk id="8" creationId="{0D24D854-8654-2E63-B75C-4F5506461127}"/>
          </ac:picMkLst>
        </pc:picChg>
        <pc:picChg chg="add mod modCrop">
          <ac:chgData name="Kim, Woon" userId="c9271a81-0df1-4d40-9eb7-bb662f2e942e" providerId="ADAL" clId="{9CBAAD83-DC3F-48F5-AE6B-C0917D252D31}" dt="2022-08-10T21:05:47.349" v="5076" actId="164"/>
          <ac:picMkLst>
            <pc:docMk/>
            <pc:sldMk cId="2766944985" sldId="2145706825"/>
            <ac:picMk id="10" creationId="{C63E6831-9938-8F2D-9874-3B97E6F22D40}"/>
          </ac:picMkLst>
        </pc:picChg>
      </pc:sldChg>
      <pc:sldChg chg="add del">
        <pc:chgData name="Kim, Woon" userId="c9271a81-0df1-4d40-9eb7-bb662f2e942e" providerId="ADAL" clId="{9CBAAD83-DC3F-48F5-AE6B-C0917D252D31}" dt="2022-08-10T18:43:47.137" v="3356"/>
        <pc:sldMkLst>
          <pc:docMk/>
          <pc:sldMk cId="3413339084" sldId="2145706825"/>
        </pc:sldMkLst>
      </pc:sldChg>
      <pc:sldChg chg="addSp delSp modSp add mod">
        <pc:chgData name="Kim, Woon" userId="c9271a81-0df1-4d40-9eb7-bb662f2e942e" providerId="ADAL" clId="{9CBAAD83-DC3F-48F5-AE6B-C0917D252D31}" dt="2022-08-11T13:05:44.284" v="5716" actId="14826"/>
        <pc:sldMkLst>
          <pc:docMk/>
          <pc:sldMk cId="3419583624" sldId="2145706826"/>
        </pc:sldMkLst>
        <pc:spChg chg="mod">
          <ac:chgData name="Kim, Woon" userId="c9271a81-0df1-4d40-9eb7-bb662f2e942e" providerId="ADAL" clId="{9CBAAD83-DC3F-48F5-AE6B-C0917D252D31}" dt="2022-08-10T18:51:09.156" v="3412" actId="20577"/>
          <ac:spMkLst>
            <pc:docMk/>
            <pc:sldMk cId="3419583624" sldId="2145706826"/>
            <ac:spMk id="2" creationId="{AA6F49F7-42D7-40BF-9E6B-1FDB9818C092}"/>
          </ac:spMkLst>
        </pc:spChg>
        <pc:spChg chg="mod">
          <ac:chgData name="Kim, Woon" userId="c9271a81-0df1-4d40-9eb7-bb662f2e942e" providerId="ADAL" clId="{9CBAAD83-DC3F-48F5-AE6B-C0917D252D31}" dt="2022-08-10T20:32:20.115" v="4553" actId="20577"/>
          <ac:spMkLst>
            <pc:docMk/>
            <pc:sldMk cId="3419583624" sldId="2145706826"/>
            <ac:spMk id="9" creationId="{F9633ABE-6323-B3D7-49E5-03D93B099F41}"/>
          </ac:spMkLst>
        </pc:spChg>
        <pc:picChg chg="mod">
          <ac:chgData name="Kim, Woon" userId="c9271a81-0df1-4d40-9eb7-bb662f2e942e" providerId="ADAL" clId="{9CBAAD83-DC3F-48F5-AE6B-C0917D252D31}" dt="2022-08-11T13:05:44.284" v="5716" actId="14826"/>
          <ac:picMkLst>
            <pc:docMk/>
            <pc:sldMk cId="3419583624" sldId="2145706826"/>
            <ac:picMk id="4" creationId="{E3B5B15E-0C5F-3A01-5F13-69FB3436EBB6}"/>
          </ac:picMkLst>
        </pc:picChg>
        <pc:picChg chg="add del mod">
          <ac:chgData name="Kim, Woon" userId="c9271a81-0df1-4d40-9eb7-bb662f2e942e" providerId="ADAL" clId="{9CBAAD83-DC3F-48F5-AE6B-C0917D252D31}" dt="2022-08-10T18:50:56.162" v="3404"/>
          <ac:picMkLst>
            <pc:docMk/>
            <pc:sldMk cId="3419583624" sldId="2145706826"/>
            <ac:picMk id="7" creationId="{7D85E6F9-C887-7DB5-D3C4-0317919864A1}"/>
          </ac:picMkLst>
        </pc:picChg>
      </pc:sldChg>
      <pc:sldChg chg="modSp mod">
        <pc:chgData name="Kim, Woon" userId="c9271a81-0df1-4d40-9eb7-bb662f2e942e" providerId="ADAL" clId="{9CBAAD83-DC3F-48F5-AE6B-C0917D252D31}" dt="2022-08-10T20:07:59.888" v="4350" actId="20577"/>
        <pc:sldMkLst>
          <pc:docMk/>
          <pc:sldMk cId="604132417" sldId="2145706827"/>
        </pc:sldMkLst>
        <pc:spChg chg="mod">
          <ac:chgData name="Kim, Woon" userId="c9271a81-0df1-4d40-9eb7-bb662f2e942e" providerId="ADAL" clId="{9CBAAD83-DC3F-48F5-AE6B-C0917D252D31}" dt="2022-08-10T20:07:59.888" v="4350" actId="20577"/>
          <ac:spMkLst>
            <pc:docMk/>
            <pc:sldMk cId="604132417" sldId="2145706827"/>
            <ac:spMk id="3" creationId="{1D0D7FFA-CAA5-731E-A6AC-446D19B339FE}"/>
          </ac:spMkLst>
        </pc:spChg>
      </pc:sldChg>
      <pc:sldChg chg="del">
        <pc:chgData name="Kim, Woon" userId="c9271a81-0df1-4d40-9eb7-bb662f2e942e" providerId="ADAL" clId="{9CBAAD83-DC3F-48F5-AE6B-C0917D252D31}" dt="2022-08-11T13:27:36.676" v="5741" actId="47"/>
        <pc:sldMkLst>
          <pc:docMk/>
          <pc:sldMk cId="662785317" sldId="2145706828"/>
        </pc:sldMkLst>
      </pc:sldChg>
      <pc:sldChg chg="modSp mod">
        <pc:chgData name="Kim, Woon" userId="c9271a81-0df1-4d40-9eb7-bb662f2e942e" providerId="ADAL" clId="{9CBAAD83-DC3F-48F5-AE6B-C0917D252D31}" dt="2022-08-10T20:13:59.331" v="4476" actId="20577"/>
        <pc:sldMkLst>
          <pc:docMk/>
          <pc:sldMk cId="2382023442" sldId="2145706829"/>
        </pc:sldMkLst>
        <pc:spChg chg="mod">
          <ac:chgData name="Kim, Woon" userId="c9271a81-0df1-4d40-9eb7-bb662f2e942e" providerId="ADAL" clId="{9CBAAD83-DC3F-48F5-AE6B-C0917D252D31}" dt="2022-08-10T20:13:05.485" v="4450" actId="20577"/>
          <ac:spMkLst>
            <pc:docMk/>
            <pc:sldMk cId="2382023442" sldId="2145706829"/>
            <ac:spMk id="31" creationId="{2E310018-35FA-ED90-DF88-4EC81D6A8261}"/>
          </ac:spMkLst>
        </pc:spChg>
        <pc:spChg chg="mod">
          <ac:chgData name="Kim, Woon" userId="c9271a81-0df1-4d40-9eb7-bb662f2e942e" providerId="ADAL" clId="{9CBAAD83-DC3F-48F5-AE6B-C0917D252D31}" dt="2022-08-10T20:13:08.009" v="4451" actId="14100"/>
          <ac:spMkLst>
            <pc:docMk/>
            <pc:sldMk cId="2382023442" sldId="2145706829"/>
            <ac:spMk id="32" creationId="{70C301E9-B382-3111-8C0C-9F8253499048}"/>
          </ac:spMkLst>
        </pc:spChg>
        <pc:spChg chg="mod">
          <ac:chgData name="Kim, Woon" userId="c9271a81-0df1-4d40-9eb7-bb662f2e942e" providerId="ADAL" clId="{9CBAAD83-DC3F-48F5-AE6B-C0917D252D31}" dt="2022-08-10T20:13:59.331" v="4476" actId="20577"/>
          <ac:spMkLst>
            <pc:docMk/>
            <pc:sldMk cId="2382023442" sldId="2145706829"/>
            <ac:spMk id="49" creationId="{2A09068E-B94A-5284-45EB-384B54E849A5}"/>
          </ac:spMkLst>
        </pc:spChg>
        <pc:spChg chg="mod">
          <ac:chgData name="Kim, Woon" userId="c9271a81-0df1-4d40-9eb7-bb662f2e942e" providerId="ADAL" clId="{9CBAAD83-DC3F-48F5-AE6B-C0917D252D31}" dt="2022-08-10T20:11:24.667" v="4432" actId="20577"/>
          <ac:spMkLst>
            <pc:docMk/>
            <pc:sldMk cId="2382023442" sldId="2145706829"/>
            <ac:spMk id="50" creationId="{DB685C06-F341-08A8-85C3-9D3A93118BEA}"/>
          </ac:spMkLst>
        </pc:spChg>
        <pc:spChg chg="mod">
          <ac:chgData name="Kim, Woon" userId="c9271a81-0df1-4d40-9eb7-bb662f2e942e" providerId="ADAL" clId="{9CBAAD83-DC3F-48F5-AE6B-C0917D252D31}" dt="2022-08-10T20:13:32.113" v="4457" actId="20577"/>
          <ac:spMkLst>
            <pc:docMk/>
            <pc:sldMk cId="2382023442" sldId="2145706829"/>
            <ac:spMk id="52" creationId="{F9439A88-4DD0-24AF-DA90-877656E9E082}"/>
          </ac:spMkLst>
        </pc:spChg>
        <pc:spChg chg="mod">
          <ac:chgData name="Kim, Woon" userId="c9271a81-0df1-4d40-9eb7-bb662f2e942e" providerId="ADAL" clId="{9CBAAD83-DC3F-48F5-AE6B-C0917D252D31}" dt="2022-08-10T20:09:38.542" v="4367" actId="20577"/>
          <ac:spMkLst>
            <pc:docMk/>
            <pc:sldMk cId="2382023442" sldId="2145706829"/>
            <ac:spMk id="53" creationId="{EE9AB69B-48B1-9D27-D316-B5C189E0FFA9}"/>
          </ac:spMkLst>
        </pc:spChg>
        <pc:spChg chg="mod">
          <ac:chgData name="Kim, Woon" userId="c9271a81-0df1-4d40-9eb7-bb662f2e942e" providerId="ADAL" clId="{9CBAAD83-DC3F-48F5-AE6B-C0917D252D31}" dt="2022-08-10T20:13:42.578" v="4467" actId="20577"/>
          <ac:spMkLst>
            <pc:docMk/>
            <pc:sldMk cId="2382023442" sldId="2145706829"/>
            <ac:spMk id="61" creationId="{E3625D76-40F8-7A8D-11B6-68277BB08E19}"/>
          </ac:spMkLst>
        </pc:spChg>
        <pc:spChg chg="mod">
          <ac:chgData name="Kim, Woon" userId="c9271a81-0df1-4d40-9eb7-bb662f2e942e" providerId="ADAL" clId="{9CBAAD83-DC3F-48F5-AE6B-C0917D252D31}" dt="2022-08-10T20:11:01.704" v="4414" actId="20577"/>
          <ac:spMkLst>
            <pc:docMk/>
            <pc:sldMk cId="2382023442" sldId="2145706829"/>
            <ac:spMk id="62" creationId="{2F1834BE-30D2-E3FF-F7B2-BB3ECD6A3FD7}"/>
          </ac:spMkLst>
        </pc:spChg>
        <pc:grpChg chg="mod">
          <ac:chgData name="Kim, Woon" userId="c9271a81-0df1-4d40-9eb7-bb662f2e942e" providerId="ADAL" clId="{9CBAAD83-DC3F-48F5-AE6B-C0917D252D31}" dt="2022-08-10T20:09:12.301" v="4351" actId="1076"/>
          <ac:grpSpMkLst>
            <pc:docMk/>
            <pc:sldMk cId="2382023442" sldId="2145706829"/>
            <ac:grpSpMk id="30" creationId="{4332150B-521B-DC65-B587-0BF617E3E8C0}"/>
          </ac:grpSpMkLst>
        </pc:grpChg>
      </pc:sldChg>
      <pc:sldChg chg="addSp delSp modSp add mod">
        <pc:chgData name="Kim, Woon" userId="c9271a81-0df1-4d40-9eb7-bb662f2e942e" providerId="ADAL" clId="{9CBAAD83-DC3F-48F5-AE6B-C0917D252D31}" dt="2022-08-10T19:35:39.308" v="3664" actId="20577"/>
        <pc:sldMkLst>
          <pc:docMk/>
          <pc:sldMk cId="1986385402" sldId="2145706830"/>
        </pc:sldMkLst>
        <pc:spChg chg="mod">
          <ac:chgData name="Kim, Woon" userId="c9271a81-0df1-4d40-9eb7-bb662f2e942e" providerId="ADAL" clId="{9CBAAD83-DC3F-48F5-AE6B-C0917D252D31}" dt="2022-08-10T19:06:41.110" v="3543" actId="20577"/>
          <ac:spMkLst>
            <pc:docMk/>
            <pc:sldMk cId="1986385402" sldId="2145706830"/>
            <ac:spMk id="2" creationId="{AA6F49F7-42D7-40BF-9E6B-1FDB9818C092}"/>
          </ac:spMkLst>
        </pc:spChg>
        <pc:spChg chg="del">
          <ac:chgData name="Kim, Woon" userId="c9271a81-0df1-4d40-9eb7-bb662f2e942e" providerId="ADAL" clId="{9CBAAD83-DC3F-48F5-AE6B-C0917D252D31}" dt="2022-08-10T19:06:47.332" v="3544" actId="478"/>
          <ac:spMkLst>
            <pc:docMk/>
            <pc:sldMk cId="1986385402" sldId="2145706830"/>
            <ac:spMk id="5" creationId="{BF19F72C-F46F-43D0-89CC-6385D8A5149F}"/>
          </ac:spMkLst>
        </pc:spChg>
        <pc:spChg chg="del">
          <ac:chgData name="Kim, Woon" userId="c9271a81-0df1-4d40-9eb7-bb662f2e942e" providerId="ADAL" clId="{9CBAAD83-DC3F-48F5-AE6B-C0917D252D31}" dt="2022-08-10T19:06:47.332" v="3544" actId="478"/>
          <ac:spMkLst>
            <pc:docMk/>
            <pc:sldMk cId="1986385402" sldId="2145706830"/>
            <ac:spMk id="6" creationId="{8CB02463-3546-01E6-6E1E-DEAE34B248A0}"/>
          </ac:spMkLst>
        </pc:spChg>
        <pc:spChg chg="del">
          <ac:chgData name="Kim, Woon" userId="c9271a81-0df1-4d40-9eb7-bb662f2e942e" providerId="ADAL" clId="{9CBAAD83-DC3F-48F5-AE6B-C0917D252D31}" dt="2022-08-10T19:06:47.332" v="3544" actId="478"/>
          <ac:spMkLst>
            <pc:docMk/>
            <pc:sldMk cId="1986385402" sldId="2145706830"/>
            <ac:spMk id="7" creationId="{83DCDFEB-4A4F-BD4E-0061-7E8D150CC710}"/>
          </ac:spMkLst>
        </pc:spChg>
        <pc:spChg chg="del">
          <ac:chgData name="Kim, Woon" userId="c9271a81-0df1-4d40-9eb7-bb662f2e942e" providerId="ADAL" clId="{9CBAAD83-DC3F-48F5-AE6B-C0917D252D31}" dt="2022-08-10T19:06:47.332" v="3544" actId="478"/>
          <ac:spMkLst>
            <pc:docMk/>
            <pc:sldMk cId="1986385402" sldId="2145706830"/>
            <ac:spMk id="8" creationId="{034CEBC0-ED39-0A44-4F12-8260C1B44C4C}"/>
          </ac:spMkLst>
        </pc:spChg>
        <pc:spChg chg="del">
          <ac:chgData name="Kim, Woon" userId="c9271a81-0df1-4d40-9eb7-bb662f2e942e" providerId="ADAL" clId="{9CBAAD83-DC3F-48F5-AE6B-C0917D252D31}" dt="2022-08-10T19:06:47.332" v="3544" actId="478"/>
          <ac:spMkLst>
            <pc:docMk/>
            <pc:sldMk cId="1986385402" sldId="2145706830"/>
            <ac:spMk id="9" creationId="{71A3E9A2-5163-00A6-4828-79BB0CA0C269}"/>
          </ac:spMkLst>
        </pc:spChg>
        <pc:spChg chg="del">
          <ac:chgData name="Kim, Woon" userId="c9271a81-0df1-4d40-9eb7-bb662f2e942e" providerId="ADAL" clId="{9CBAAD83-DC3F-48F5-AE6B-C0917D252D31}" dt="2022-08-10T19:06:47.332" v="3544" actId="478"/>
          <ac:spMkLst>
            <pc:docMk/>
            <pc:sldMk cId="1986385402" sldId="2145706830"/>
            <ac:spMk id="11" creationId="{B017C4F6-2DA9-AE4E-2996-B52CB80A7691}"/>
          </ac:spMkLst>
        </pc:spChg>
        <pc:spChg chg="del">
          <ac:chgData name="Kim, Woon" userId="c9271a81-0df1-4d40-9eb7-bb662f2e942e" providerId="ADAL" clId="{9CBAAD83-DC3F-48F5-AE6B-C0917D252D31}" dt="2022-08-10T19:06:47.332" v="3544" actId="478"/>
          <ac:spMkLst>
            <pc:docMk/>
            <pc:sldMk cId="1986385402" sldId="2145706830"/>
            <ac:spMk id="13" creationId="{C43881FF-9C81-888D-E3FF-3AB8C8A0B63D}"/>
          </ac:spMkLst>
        </pc:spChg>
        <pc:spChg chg="del">
          <ac:chgData name="Kim, Woon" userId="c9271a81-0df1-4d40-9eb7-bb662f2e942e" providerId="ADAL" clId="{9CBAAD83-DC3F-48F5-AE6B-C0917D252D31}" dt="2022-08-10T19:06:47.332" v="3544" actId="478"/>
          <ac:spMkLst>
            <pc:docMk/>
            <pc:sldMk cId="1986385402" sldId="2145706830"/>
            <ac:spMk id="14" creationId="{C38B2EC5-64F2-7A73-A0DA-7CD8248AE431}"/>
          </ac:spMkLst>
        </pc:spChg>
        <pc:spChg chg="del">
          <ac:chgData name="Kim, Woon" userId="c9271a81-0df1-4d40-9eb7-bb662f2e942e" providerId="ADAL" clId="{9CBAAD83-DC3F-48F5-AE6B-C0917D252D31}" dt="2022-08-10T19:06:47.332" v="3544" actId="478"/>
          <ac:spMkLst>
            <pc:docMk/>
            <pc:sldMk cId="1986385402" sldId="2145706830"/>
            <ac:spMk id="15" creationId="{74D7D0F1-2267-2836-6014-D6B01EF469D6}"/>
          </ac:spMkLst>
        </pc:spChg>
        <pc:spChg chg="add mod">
          <ac:chgData name="Kim, Woon" userId="c9271a81-0df1-4d40-9eb7-bb662f2e942e" providerId="ADAL" clId="{9CBAAD83-DC3F-48F5-AE6B-C0917D252D31}" dt="2022-08-10T19:35:39.308" v="3664" actId="20577"/>
          <ac:spMkLst>
            <pc:docMk/>
            <pc:sldMk cId="1986385402" sldId="2145706830"/>
            <ac:spMk id="17" creationId="{871B755C-A1EC-C676-F458-A2817560C048}"/>
          </ac:spMkLst>
        </pc:spChg>
        <pc:spChg chg="add mod">
          <ac:chgData name="Kim, Woon" userId="c9271a81-0df1-4d40-9eb7-bb662f2e942e" providerId="ADAL" clId="{9CBAAD83-DC3F-48F5-AE6B-C0917D252D31}" dt="2022-08-10T19:35:11.136" v="3568" actId="14100"/>
          <ac:spMkLst>
            <pc:docMk/>
            <pc:sldMk cId="1986385402" sldId="2145706830"/>
            <ac:spMk id="18" creationId="{A2D7D866-E14E-84EA-EAA4-28FB793A8497}"/>
          </ac:spMkLst>
        </pc:spChg>
        <pc:spChg chg="del">
          <ac:chgData name="Kim, Woon" userId="c9271a81-0df1-4d40-9eb7-bb662f2e942e" providerId="ADAL" clId="{9CBAAD83-DC3F-48F5-AE6B-C0917D252D31}" dt="2022-08-10T19:06:47.332" v="3544" actId="478"/>
          <ac:spMkLst>
            <pc:docMk/>
            <pc:sldMk cId="1986385402" sldId="2145706830"/>
            <ac:spMk id="19" creationId="{A5DBFDC2-D99C-A051-6A9F-C3A517253CBC}"/>
          </ac:spMkLst>
        </pc:spChg>
        <pc:picChg chg="add mod">
          <ac:chgData name="Kim, Woon" userId="c9271a81-0df1-4d40-9eb7-bb662f2e942e" providerId="ADAL" clId="{9CBAAD83-DC3F-48F5-AE6B-C0917D252D31}" dt="2022-08-10T19:35:00.348" v="3555" actId="1076"/>
          <ac:picMkLst>
            <pc:docMk/>
            <pc:sldMk cId="1986385402" sldId="2145706830"/>
            <ac:picMk id="4" creationId="{D3B1A021-0059-EB9C-AE03-2AD4C9325E87}"/>
          </ac:picMkLst>
        </pc:picChg>
        <pc:picChg chg="del">
          <ac:chgData name="Kim, Woon" userId="c9271a81-0df1-4d40-9eb7-bb662f2e942e" providerId="ADAL" clId="{9CBAAD83-DC3F-48F5-AE6B-C0917D252D31}" dt="2022-08-10T19:06:47.332" v="3544" actId="478"/>
          <ac:picMkLst>
            <pc:docMk/>
            <pc:sldMk cId="1986385402" sldId="2145706830"/>
            <ac:picMk id="10" creationId="{810D8505-177F-ECDE-E934-0B53867AACCF}"/>
          </ac:picMkLst>
        </pc:picChg>
        <pc:picChg chg="del">
          <ac:chgData name="Kim, Woon" userId="c9271a81-0df1-4d40-9eb7-bb662f2e942e" providerId="ADAL" clId="{9CBAAD83-DC3F-48F5-AE6B-C0917D252D31}" dt="2022-08-10T19:06:47.332" v="3544" actId="478"/>
          <ac:picMkLst>
            <pc:docMk/>
            <pc:sldMk cId="1986385402" sldId="2145706830"/>
            <ac:picMk id="12" creationId="{41D191AD-311D-17E5-102E-58713E5EFD52}"/>
          </ac:picMkLst>
        </pc:picChg>
      </pc:sldChg>
      <pc:sldChg chg="addSp modSp add del">
        <pc:chgData name="Kim, Woon" userId="c9271a81-0df1-4d40-9eb7-bb662f2e942e" providerId="ADAL" clId="{9CBAAD83-DC3F-48F5-AE6B-C0917D252D31}" dt="2022-08-11T13:01:10.182" v="5674" actId="47"/>
        <pc:sldMkLst>
          <pc:docMk/>
          <pc:sldMk cId="1322032227" sldId="2145706831"/>
        </pc:sldMkLst>
        <pc:spChg chg="add mod">
          <ac:chgData name="Kim, Woon" userId="c9271a81-0df1-4d40-9eb7-bb662f2e942e" providerId="ADAL" clId="{9CBAAD83-DC3F-48F5-AE6B-C0917D252D31}" dt="2022-08-10T21:02:26.572" v="4940"/>
          <ac:spMkLst>
            <pc:docMk/>
            <pc:sldMk cId="1322032227" sldId="2145706831"/>
            <ac:spMk id="7" creationId="{06CAB4EB-C081-3035-456A-C6DADB039D82}"/>
          </ac:spMkLst>
        </pc:spChg>
      </pc:sldChg>
      <pc:sldChg chg="addSp modSp add del mod">
        <pc:chgData name="Kim, Woon" userId="c9271a81-0df1-4d40-9eb7-bb662f2e942e" providerId="ADAL" clId="{9CBAAD83-DC3F-48F5-AE6B-C0917D252D31}" dt="2022-08-11T13:01:10.182" v="5674" actId="47"/>
        <pc:sldMkLst>
          <pc:docMk/>
          <pc:sldMk cId="3393466144" sldId="2145706832"/>
        </pc:sldMkLst>
        <pc:spChg chg="add mod">
          <ac:chgData name="Kim, Woon" userId="c9271a81-0df1-4d40-9eb7-bb662f2e942e" providerId="ADAL" clId="{9CBAAD83-DC3F-48F5-AE6B-C0917D252D31}" dt="2022-08-10T21:02:48.016" v="4963" actId="1036"/>
          <ac:spMkLst>
            <pc:docMk/>
            <pc:sldMk cId="3393466144" sldId="2145706832"/>
            <ac:spMk id="7" creationId="{4FC43333-9195-278A-4A21-B98456D0171F}"/>
          </ac:spMkLst>
        </pc:spChg>
        <pc:spChg chg="add mod">
          <ac:chgData name="Kim, Woon" userId="c9271a81-0df1-4d40-9eb7-bb662f2e942e" providerId="ADAL" clId="{9CBAAD83-DC3F-48F5-AE6B-C0917D252D31}" dt="2022-08-10T21:02:48.016" v="4963" actId="1036"/>
          <ac:spMkLst>
            <pc:docMk/>
            <pc:sldMk cId="3393466144" sldId="2145706832"/>
            <ac:spMk id="8" creationId="{6DF39D4B-D7D6-50B4-D0A3-516FD12A4255}"/>
          </ac:spMkLst>
        </pc:spChg>
      </pc:sldChg>
      <pc:sldChg chg="addSp modSp add del mod">
        <pc:chgData name="Kim, Woon" userId="c9271a81-0df1-4d40-9eb7-bb662f2e942e" providerId="ADAL" clId="{9CBAAD83-DC3F-48F5-AE6B-C0917D252D31}" dt="2022-08-11T13:01:10.182" v="5674" actId="47"/>
        <pc:sldMkLst>
          <pc:docMk/>
          <pc:sldMk cId="4158342034" sldId="2145706833"/>
        </pc:sldMkLst>
        <pc:spChg chg="add mod">
          <ac:chgData name="Kim, Woon" userId="c9271a81-0df1-4d40-9eb7-bb662f2e942e" providerId="ADAL" clId="{9CBAAD83-DC3F-48F5-AE6B-C0917D252D31}" dt="2022-08-10T21:03:29.225" v="5044" actId="1035"/>
          <ac:spMkLst>
            <pc:docMk/>
            <pc:sldMk cId="4158342034" sldId="2145706833"/>
            <ac:spMk id="10" creationId="{F89AF9CC-DF8F-1D3C-A82B-F7799F338A36}"/>
          </ac:spMkLst>
        </pc:spChg>
        <pc:spChg chg="add mod">
          <ac:chgData name="Kim, Woon" userId="c9271a81-0df1-4d40-9eb7-bb662f2e942e" providerId="ADAL" clId="{9CBAAD83-DC3F-48F5-AE6B-C0917D252D31}" dt="2022-08-10T21:03:26.511" v="5041" actId="1035"/>
          <ac:spMkLst>
            <pc:docMk/>
            <pc:sldMk cId="4158342034" sldId="2145706833"/>
            <ac:spMk id="11" creationId="{5D6DFBAF-DD8F-5B5A-C702-C9CE2E67ACD8}"/>
          </ac:spMkLst>
        </pc:spChg>
      </pc:sldChg>
      <pc:sldChg chg="addSp modSp add del mod">
        <pc:chgData name="Kim, Woon" userId="c9271a81-0df1-4d40-9eb7-bb662f2e942e" providerId="ADAL" clId="{9CBAAD83-DC3F-48F5-AE6B-C0917D252D31}" dt="2022-08-11T13:01:24.745" v="5678" actId="47"/>
        <pc:sldMkLst>
          <pc:docMk/>
          <pc:sldMk cId="2953612387" sldId="2145706834"/>
        </pc:sldMkLst>
        <pc:spChg chg="add mod">
          <ac:chgData name="Kim, Woon" userId="c9271a81-0df1-4d40-9eb7-bb662f2e942e" providerId="ADAL" clId="{9CBAAD83-DC3F-48F5-AE6B-C0917D252D31}" dt="2022-08-10T21:08:09.669" v="5115" actId="1038"/>
          <ac:spMkLst>
            <pc:docMk/>
            <pc:sldMk cId="2953612387" sldId="2145706834"/>
            <ac:spMk id="14" creationId="{FB2AEA82-CB1D-24B1-FE9E-BEBC8003A6B3}"/>
          </ac:spMkLst>
        </pc:spChg>
        <pc:spChg chg="add mod">
          <ac:chgData name="Kim, Woon" userId="c9271a81-0df1-4d40-9eb7-bb662f2e942e" providerId="ADAL" clId="{9CBAAD83-DC3F-48F5-AE6B-C0917D252D31}" dt="2022-08-10T21:08:09.669" v="5115" actId="1038"/>
          <ac:spMkLst>
            <pc:docMk/>
            <pc:sldMk cId="2953612387" sldId="2145706834"/>
            <ac:spMk id="15" creationId="{2B1B375D-3B3C-50AA-B728-5ECB38A12C61}"/>
          </ac:spMkLst>
        </pc:spChg>
        <pc:picChg chg="add mod">
          <ac:chgData name="Kim, Woon" userId="c9271a81-0df1-4d40-9eb7-bb662f2e942e" providerId="ADAL" clId="{9CBAAD83-DC3F-48F5-AE6B-C0917D252D31}" dt="2022-08-10T21:08:05.175" v="5096" actId="14100"/>
          <ac:picMkLst>
            <pc:docMk/>
            <pc:sldMk cId="2953612387" sldId="2145706834"/>
            <ac:picMk id="13" creationId="{C514ED48-8DEF-4540-F53D-865479253519}"/>
          </ac:picMkLst>
        </pc:picChg>
      </pc:sldChg>
      <pc:sldChg chg="delSp add del mod">
        <pc:chgData name="Kim, Woon" userId="c9271a81-0df1-4d40-9eb7-bb662f2e942e" providerId="ADAL" clId="{9CBAAD83-DC3F-48F5-AE6B-C0917D252D31}" dt="2022-08-10T21:07:54.531" v="5095" actId="47"/>
        <pc:sldMkLst>
          <pc:docMk/>
          <pc:sldMk cId="1516056512" sldId="2145706835"/>
        </pc:sldMkLst>
        <pc:spChg chg="del">
          <ac:chgData name="Kim, Woon" userId="c9271a81-0df1-4d40-9eb7-bb662f2e942e" providerId="ADAL" clId="{9CBAAD83-DC3F-48F5-AE6B-C0917D252D31}" dt="2022-08-10T21:03:52.945" v="5049" actId="478"/>
          <ac:spMkLst>
            <pc:docMk/>
            <pc:sldMk cId="1516056512" sldId="2145706835"/>
            <ac:spMk id="14" creationId="{FB2AEA82-CB1D-24B1-FE9E-BEBC8003A6B3}"/>
          </ac:spMkLst>
        </pc:spChg>
        <pc:spChg chg="del">
          <ac:chgData name="Kim, Woon" userId="c9271a81-0df1-4d40-9eb7-bb662f2e942e" providerId="ADAL" clId="{9CBAAD83-DC3F-48F5-AE6B-C0917D252D31}" dt="2022-08-10T21:03:52.945" v="5049" actId="478"/>
          <ac:spMkLst>
            <pc:docMk/>
            <pc:sldMk cId="1516056512" sldId="2145706835"/>
            <ac:spMk id="15" creationId="{2B1B375D-3B3C-50AA-B728-5ECB38A12C61}"/>
          </ac:spMkLst>
        </pc:spChg>
        <pc:picChg chg="del">
          <ac:chgData name="Kim, Woon" userId="c9271a81-0df1-4d40-9eb7-bb662f2e942e" providerId="ADAL" clId="{9CBAAD83-DC3F-48F5-AE6B-C0917D252D31}" dt="2022-08-10T21:03:52.945" v="5049" actId="478"/>
          <ac:picMkLst>
            <pc:docMk/>
            <pc:sldMk cId="1516056512" sldId="2145706835"/>
            <ac:picMk id="13" creationId="{C514ED48-8DEF-4540-F53D-865479253519}"/>
          </ac:picMkLst>
        </pc:picChg>
      </pc:sldChg>
      <pc:sldChg chg="addSp delSp modSp add mod">
        <pc:chgData name="Kim, Woon" userId="c9271a81-0df1-4d40-9eb7-bb662f2e942e" providerId="ADAL" clId="{9CBAAD83-DC3F-48F5-AE6B-C0917D252D31}" dt="2022-08-10T21:06:59.124" v="5092" actId="14100"/>
        <pc:sldMkLst>
          <pc:docMk/>
          <pc:sldMk cId="2496077365" sldId="2145706836"/>
        </pc:sldMkLst>
        <pc:spChg chg="mod">
          <ac:chgData name="Kim, Woon" userId="c9271a81-0df1-4d40-9eb7-bb662f2e942e" providerId="ADAL" clId="{9CBAAD83-DC3F-48F5-AE6B-C0917D252D31}" dt="2022-08-10T21:06:59.124" v="5092" actId="14100"/>
          <ac:spMkLst>
            <pc:docMk/>
            <pc:sldMk cId="2496077365" sldId="2145706836"/>
            <ac:spMk id="11" creationId="{AE7EDBAC-0EF6-2FC1-33CD-9A99A2024BB5}"/>
          </ac:spMkLst>
        </pc:spChg>
        <pc:grpChg chg="del">
          <ac:chgData name="Kim, Woon" userId="c9271a81-0df1-4d40-9eb7-bb662f2e942e" providerId="ADAL" clId="{9CBAAD83-DC3F-48F5-AE6B-C0917D252D31}" dt="2022-08-10T21:06:40.937" v="5087" actId="478"/>
          <ac:grpSpMkLst>
            <pc:docMk/>
            <pc:sldMk cId="2496077365" sldId="2145706836"/>
            <ac:grpSpMk id="10" creationId="{1AE7E1EB-A7CF-AC7B-FE60-AC2804E558E8}"/>
          </ac:grpSpMkLst>
        </pc:grpChg>
        <pc:grpChg chg="add mod ord">
          <ac:chgData name="Kim, Woon" userId="c9271a81-0df1-4d40-9eb7-bb662f2e942e" providerId="ADAL" clId="{9CBAAD83-DC3F-48F5-AE6B-C0917D252D31}" dt="2022-08-10T21:06:51.138" v="5089" actId="167"/>
          <ac:grpSpMkLst>
            <pc:docMk/>
            <pc:sldMk cId="2496077365" sldId="2145706836"/>
            <ac:grpSpMk id="15" creationId="{06E5AF37-0ACD-5E62-0EE6-D151CEFD0E6A}"/>
          </ac:grpSpMkLst>
        </pc:grpChg>
        <pc:picChg chg="del">
          <ac:chgData name="Kim, Woon" userId="c9271a81-0df1-4d40-9eb7-bb662f2e942e" providerId="ADAL" clId="{9CBAAD83-DC3F-48F5-AE6B-C0917D252D31}" dt="2022-08-10T21:06:52.317" v="5090" actId="478"/>
          <ac:picMkLst>
            <pc:docMk/>
            <pc:sldMk cId="2496077365" sldId="2145706836"/>
            <ac:picMk id="6" creationId="{7C7305E2-AAFF-B001-E135-31BC58B72A30}"/>
          </ac:picMkLst>
        </pc:picChg>
        <pc:picChg chg="add mod ord">
          <ac:chgData name="Kim, Woon" userId="c9271a81-0df1-4d40-9eb7-bb662f2e942e" providerId="ADAL" clId="{9CBAAD83-DC3F-48F5-AE6B-C0917D252D31}" dt="2022-08-10T21:06:38.521" v="5086" actId="167"/>
          <ac:picMkLst>
            <pc:docMk/>
            <pc:sldMk cId="2496077365" sldId="2145706836"/>
            <ac:picMk id="12" creationId="{8BC53D4C-6B45-BF98-CEEA-3DF53A583F6C}"/>
          </ac:picMkLst>
        </pc:picChg>
        <pc:picChg chg="mod">
          <ac:chgData name="Kim, Woon" userId="c9271a81-0df1-4d40-9eb7-bb662f2e942e" providerId="ADAL" clId="{9CBAAD83-DC3F-48F5-AE6B-C0917D252D31}" dt="2022-08-10T21:06:44.727" v="5088"/>
          <ac:picMkLst>
            <pc:docMk/>
            <pc:sldMk cId="2496077365" sldId="2145706836"/>
            <ac:picMk id="16" creationId="{D2ADA373-66E1-2E74-287A-D8325F0F239B}"/>
          </ac:picMkLst>
        </pc:picChg>
        <pc:picChg chg="mod">
          <ac:chgData name="Kim, Woon" userId="c9271a81-0df1-4d40-9eb7-bb662f2e942e" providerId="ADAL" clId="{9CBAAD83-DC3F-48F5-AE6B-C0917D252D31}" dt="2022-08-10T21:06:44.727" v="5088"/>
          <ac:picMkLst>
            <pc:docMk/>
            <pc:sldMk cId="2496077365" sldId="2145706836"/>
            <ac:picMk id="17" creationId="{C041CA7A-3CB8-B649-982C-CDCD88C43D62}"/>
          </ac:picMkLst>
        </pc:picChg>
      </pc:sldChg>
      <pc:sldChg chg="add del">
        <pc:chgData name="Kim, Woon" userId="c9271a81-0df1-4d40-9eb7-bb662f2e942e" providerId="ADAL" clId="{9CBAAD83-DC3F-48F5-AE6B-C0917D252D31}" dt="2022-08-11T13:01:10.182" v="5674" actId="47"/>
        <pc:sldMkLst>
          <pc:docMk/>
          <pc:sldMk cId="3055931992" sldId="2145706837"/>
        </pc:sldMkLst>
      </pc:sldChg>
      <pc:sldChg chg="add">
        <pc:chgData name="Kim, Woon" userId="c9271a81-0df1-4d40-9eb7-bb662f2e942e" providerId="ADAL" clId="{9CBAAD83-DC3F-48F5-AE6B-C0917D252D31}" dt="2022-08-11T12:57:55.286" v="5578"/>
        <pc:sldMkLst>
          <pc:docMk/>
          <pc:sldMk cId="1721529180" sldId="2145706838"/>
        </pc:sldMkLst>
      </pc:sldChg>
      <pc:sldChg chg="add">
        <pc:chgData name="Kim, Woon" userId="c9271a81-0df1-4d40-9eb7-bb662f2e942e" providerId="ADAL" clId="{9CBAAD83-DC3F-48F5-AE6B-C0917D252D31}" dt="2022-08-11T12:58:29.216" v="5581"/>
        <pc:sldMkLst>
          <pc:docMk/>
          <pc:sldMk cId="1822318869" sldId="2145706839"/>
        </pc:sldMkLst>
      </pc:sldChg>
      <pc:sldChg chg="addSp modSp add mod">
        <pc:chgData name="Kim, Woon" userId="c9271a81-0df1-4d40-9eb7-bb662f2e942e" providerId="ADAL" clId="{9CBAAD83-DC3F-48F5-AE6B-C0917D252D31}" dt="2022-08-11T12:59:18.312" v="5597" actId="14100"/>
        <pc:sldMkLst>
          <pc:docMk/>
          <pc:sldMk cId="67710849" sldId="2145706840"/>
        </pc:sldMkLst>
        <pc:spChg chg="add mod">
          <ac:chgData name="Kim, Woon" userId="c9271a81-0df1-4d40-9eb7-bb662f2e942e" providerId="ADAL" clId="{9CBAAD83-DC3F-48F5-AE6B-C0917D252D31}" dt="2022-08-11T12:59:01.886" v="5594" actId="1038"/>
          <ac:spMkLst>
            <pc:docMk/>
            <pc:sldMk cId="67710849" sldId="2145706840"/>
            <ac:spMk id="9" creationId="{246AB50A-1547-A62C-9E23-839A2957C12C}"/>
          </ac:spMkLst>
        </pc:spChg>
        <pc:spChg chg="add mod">
          <ac:chgData name="Kim, Woon" userId="c9271a81-0df1-4d40-9eb7-bb662f2e942e" providerId="ADAL" clId="{9CBAAD83-DC3F-48F5-AE6B-C0917D252D31}" dt="2022-08-11T12:58:59.316" v="5591" actId="1036"/>
          <ac:spMkLst>
            <pc:docMk/>
            <pc:sldMk cId="67710849" sldId="2145706840"/>
            <ac:spMk id="10" creationId="{D9A5E511-7AF8-B15C-3807-75FDF1785F0E}"/>
          </ac:spMkLst>
        </pc:spChg>
        <pc:spChg chg="add mod">
          <ac:chgData name="Kim, Woon" userId="c9271a81-0df1-4d40-9eb7-bb662f2e942e" providerId="ADAL" clId="{9CBAAD83-DC3F-48F5-AE6B-C0917D252D31}" dt="2022-08-11T12:59:18.312" v="5597" actId="14100"/>
          <ac:spMkLst>
            <pc:docMk/>
            <pc:sldMk cId="67710849" sldId="2145706840"/>
            <ac:spMk id="11" creationId="{567E3756-0FD6-4560-5601-EEBA04B7093B}"/>
          </ac:spMkLst>
        </pc:spChg>
      </pc:sldChg>
      <pc:sldChg chg="addSp delSp modSp add mod">
        <pc:chgData name="Kim, Woon" userId="c9271a81-0df1-4d40-9eb7-bb662f2e942e" providerId="ADAL" clId="{9CBAAD83-DC3F-48F5-AE6B-C0917D252D31}" dt="2022-08-11T13:01:53.029" v="5681" actId="478"/>
        <pc:sldMkLst>
          <pc:docMk/>
          <pc:sldMk cId="1058307245" sldId="2145706841"/>
        </pc:sldMkLst>
        <pc:spChg chg="del">
          <ac:chgData name="Kim, Woon" userId="c9271a81-0df1-4d40-9eb7-bb662f2e942e" providerId="ADAL" clId="{9CBAAD83-DC3F-48F5-AE6B-C0917D252D31}" dt="2022-08-11T13:01:53.029" v="5681" actId="478"/>
          <ac:spMkLst>
            <pc:docMk/>
            <pc:sldMk cId="1058307245" sldId="2145706841"/>
            <ac:spMk id="9" creationId="{246AB50A-1547-A62C-9E23-839A2957C12C}"/>
          </ac:spMkLst>
        </pc:spChg>
        <pc:spChg chg="del">
          <ac:chgData name="Kim, Woon" userId="c9271a81-0df1-4d40-9eb7-bb662f2e942e" providerId="ADAL" clId="{9CBAAD83-DC3F-48F5-AE6B-C0917D252D31}" dt="2022-08-11T13:01:53.029" v="5681" actId="478"/>
          <ac:spMkLst>
            <pc:docMk/>
            <pc:sldMk cId="1058307245" sldId="2145706841"/>
            <ac:spMk id="10" creationId="{D9A5E511-7AF8-B15C-3807-75FDF1785F0E}"/>
          </ac:spMkLst>
        </pc:spChg>
        <pc:spChg chg="del">
          <ac:chgData name="Kim, Woon" userId="c9271a81-0df1-4d40-9eb7-bb662f2e942e" providerId="ADAL" clId="{9CBAAD83-DC3F-48F5-AE6B-C0917D252D31}" dt="2022-08-11T12:59:55.009" v="5600" actId="478"/>
          <ac:spMkLst>
            <pc:docMk/>
            <pc:sldMk cId="1058307245" sldId="2145706841"/>
            <ac:spMk id="11" creationId="{567E3756-0FD6-4560-5601-EEBA04B7093B}"/>
          </ac:spMkLst>
        </pc:spChg>
        <pc:spChg chg="add del mod">
          <ac:chgData name="Kim, Woon" userId="c9271a81-0df1-4d40-9eb7-bb662f2e942e" providerId="ADAL" clId="{9CBAAD83-DC3F-48F5-AE6B-C0917D252D31}" dt="2022-08-11T13:01:53.029" v="5681" actId="478"/>
          <ac:spMkLst>
            <pc:docMk/>
            <pc:sldMk cId="1058307245" sldId="2145706841"/>
            <ac:spMk id="12" creationId="{FAAD93C2-D2A0-F3F6-FCFA-DBA4E3AD224F}"/>
          </ac:spMkLst>
        </pc:spChg>
        <pc:spChg chg="add del mod">
          <ac:chgData name="Kim, Woon" userId="c9271a81-0df1-4d40-9eb7-bb662f2e942e" providerId="ADAL" clId="{9CBAAD83-DC3F-48F5-AE6B-C0917D252D31}" dt="2022-08-11T13:00:22.074" v="5668" actId="478"/>
          <ac:spMkLst>
            <pc:docMk/>
            <pc:sldMk cId="1058307245" sldId="2145706841"/>
            <ac:spMk id="13" creationId="{A862F783-667A-51C5-D8B6-D340DD528A7B}"/>
          </ac:spMkLst>
        </pc:spChg>
        <pc:spChg chg="add del mod">
          <ac:chgData name="Kim, Woon" userId="c9271a81-0df1-4d40-9eb7-bb662f2e942e" providerId="ADAL" clId="{9CBAAD83-DC3F-48F5-AE6B-C0917D252D31}" dt="2022-08-11T13:01:53.029" v="5681" actId="478"/>
          <ac:spMkLst>
            <pc:docMk/>
            <pc:sldMk cId="1058307245" sldId="2145706841"/>
            <ac:spMk id="14" creationId="{70449990-DF79-9FA2-C49A-AE493A0BD45F}"/>
          </ac:spMkLst>
        </pc:spChg>
        <pc:spChg chg="add mod">
          <ac:chgData name="Kim, Woon" userId="c9271a81-0df1-4d40-9eb7-bb662f2e942e" providerId="ADAL" clId="{9CBAAD83-DC3F-48F5-AE6B-C0917D252D31}" dt="2022-08-11T13:00:53.865" v="5671" actId="1076"/>
          <ac:spMkLst>
            <pc:docMk/>
            <pc:sldMk cId="1058307245" sldId="2145706841"/>
            <ac:spMk id="15" creationId="{47767E9B-6D1A-5A47-65C1-FA15007A317B}"/>
          </ac:spMkLst>
        </pc:spChg>
        <pc:spChg chg="add mod">
          <ac:chgData name="Kim, Woon" userId="c9271a81-0df1-4d40-9eb7-bb662f2e942e" providerId="ADAL" clId="{9CBAAD83-DC3F-48F5-AE6B-C0917D252D31}" dt="2022-08-11T13:00:59.695" v="5673" actId="1076"/>
          <ac:spMkLst>
            <pc:docMk/>
            <pc:sldMk cId="1058307245" sldId="2145706841"/>
            <ac:spMk id="16" creationId="{EC6E33BA-7912-4BE7-366E-C71D95494184}"/>
          </ac:spMkLst>
        </pc:spChg>
      </pc:sldChg>
      <pc:sldChg chg="addSp delSp modSp add mod">
        <pc:chgData name="Kim, Woon" userId="c9271a81-0df1-4d40-9eb7-bb662f2e942e" providerId="ADAL" clId="{9CBAAD83-DC3F-48F5-AE6B-C0917D252D31}" dt="2022-08-11T13:02:07.528" v="5682" actId="478"/>
        <pc:sldMkLst>
          <pc:docMk/>
          <pc:sldMk cId="3282469327" sldId="2145706842"/>
        </pc:sldMkLst>
        <pc:spChg chg="del">
          <ac:chgData name="Kim, Woon" userId="c9271a81-0df1-4d40-9eb7-bb662f2e942e" providerId="ADAL" clId="{9CBAAD83-DC3F-48F5-AE6B-C0917D252D31}" dt="2022-08-11T13:02:07.528" v="5682" actId="478"/>
          <ac:spMkLst>
            <pc:docMk/>
            <pc:sldMk cId="3282469327" sldId="2145706842"/>
            <ac:spMk id="9" creationId="{246AB50A-1547-A62C-9E23-839A2957C12C}"/>
          </ac:spMkLst>
        </pc:spChg>
        <pc:spChg chg="del">
          <ac:chgData name="Kim, Woon" userId="c9271a81-0df1-4d40-9eb7-bb662f2e942e" providerId="ADAL" clId="{9CBAAD83-DC3F-48F5-AE6B-C0917D252D31}" dt="2022-08-11T13:02:07.528" v="5682" actId="478"/>
          <ac:spMkLst>
            <pc:docMk/>
            <pc:sldMk cId="3282469327" sldId="2145706842"/>
            <ac:spMk id="10" creationId="{D9A5E511-7AF8-B15C-3807-75FDF1785F0E}"/>
          </ac:spMkLst>
        </pc:spChg>
        <pc:spChg chg="del">
          <ac:chgData name="Kim, Woon" userId="c9271a81-0df1-4d40-9eb7-bb662f2e942e" providerId="ADAL" clId="{9CBAAD83-DC3F-48F5-AE6B-C0917D252D31}" dt="2022-08-11T13:02:07.528" v="5682" actId="478"/>
          <ac:spMkLst>
            <pc:docMk/>
            <pc:sldMk cId="3282469327" sldId="2145706842"/>
            <ac:spMk id="12" creationId="{FAAD93C2-D2A0-F3F6-FCFA-DBA4E3AD224F}"/>
          </ac:spMkLst>
        </pc:spChg>
        <pc:spChg chg="del">
          <ac:chgData name="Kim, Woon" userId="c9271a81-0df1-4d40-9eb7-bb662f2e942e" providerId="ADAL" clId="{9CBAAD83-DC3F-48F5-AE6B-C0917D252D31}" dt="2022-08-11T13:02:07.528" v="5682" actId="478"/>
          <ac:spMkLst>
            <pc:docMk/>
            <pc:sldMk cId="3282469327" sldId="2145706842"/>
            <ac:spMk id="14" creationId="{70449990-DF79-9FA2-C49A-AE493A0BD45F}"/>
          </ac:spMkLst>
        </pc:spChg>
        <pc:spChg chg="add mod">
          <ac:chgData name="Kim, Woon" userId="c9271a81-0df1-4d40-9eb7-bb662f2e942e" providerId="ADAL" clId="{9CBAAD83-DC3F-48F5-AE6B-C0917D252D31}" dt="2022-08-11T13:01:22.718" v="5677" actId="1076"/>
          <ac:spMkLst>
            <pc:docMk/>
            <pc:sldMk cId="3282469327" sldId="2145706842"/>
            <ac:spMk id="18" creationId="{7E8C9BAF-A2DA-95E3-C6FD-0769FCB1A8DA}"/>
          </ac:spMkLst>
        </pc:spChg>
        <pc:spChg chg="add mod">
          <ac:chgData name="Kim, Woon" userId="c9271a81-0df1-4d40-9eb7-bb662f2e942e" providerId="ADAL" clId="{9CBAAD83-DC3F-48F5-AE6B-C0917D252D31}" dt="2022-08-11T13:01:22.718" v="5677" actId="1076"/>
          <ac:spMkLst>
            <pc:docMk/>
            <pc:sldMk cId="3282469327" sldId="2145706842"/>
            <ac:spMk id="20" creationId="{C0096AB0-6C02-1A9C-8F2B-FC6C4837BEAC}"/>
          </ac:spMkLst>
        </pc:spChg>
        <pc:picChg chg="add mod">
          <ac:chgData name="Kim, Woon" userId="c9271a81-0df1-4d40-9eb7-bb662f2e942e" providerId="ADAL" clId="{9CBAAD83-DC3F-48F5-AE6B-C0917D252D31}" dt="2022-08-11T13:01:31.784" v="5680" actId="1076"/>
          <ac:picMkLst>
            <pc:docMk/>
            <pc:sldMk cId="3282469327" sldId="2145706842"/>
            <ac:picMk id="17" creationId="{E5F5A857-EC02-C7E7-B173-E4ADF718751E}"/>
          </ac:picMkLst>
        </pc:picChg>
      </pc:sldChg>
      <pc:sldChg chg="del">
        <pc:chgData name="Kim, Woon" userId="c9271a81-0df1-4d40-9eb7-bb662f2e942e" providerId="ADAL" clId="{9CBAAD83-DC3F-48F5-AE6B-C0917D252D31}" dt="2022-08-11T13:27:30.029" v="5740"/>
        <pc:sldMkLst>
          <pc:docMk/>
          <pc:sldMk cId="2971749601" sldId="2145706843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/>
              <a:t>Average</a:t>
            </a:r>
            <a:r>
              <a:rPr lang="de-DE" baseline="0"/>
              <a:t> </a:t>
            </a:r>
            <a:r>
              <a:rPr lang="de-DE" baseline="0" err="1"/>
              <a:t>Satisfaction</a:t>
            </a:r>
            <a:endParaRPr lang="de-DE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45-54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Injectable</c:v>
                </c:pt>
                <c:pt idx="1">
                  <c:v>Non-injectable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.9</c:v>
                </c:pt>
                <c:pt idx="1">
                  <c:v>1.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338-4D79-86DC-927E56C42B8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55-64</c:v>
                </c:pt>
              </c:strCache>
            </c:strRef>
          </c:tx>
          <c:spPr>
            <a:solidFill>
              <a:srgbClr val="007A94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Injectable</c:v>
                </c:pt>
                <c:pt idx="1">
                  <c:v>Non-injectable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2.6</c:v>
                </c:pt>
                <c:pt idx="1">
                  <c:v>1.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338-4D79-86DC-927E56C42B8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65-74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Injectable</c:v>
                </c:pt>
                <c:pt idx="1">
                  <c:v>Non-injectable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2.4</c:v>
                </c:pt>
                <c:pt idx="1">
                  <c:v>2.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338-4D79-86DC-927E56C42B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96317615"/>
        <c:axId val="396319695"/>
      </c:barChart>
      <c:catAx>
        <c:axId val="3963176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6319695"/>
        <c:crosses val="autoZero"/>
        <c:auto val="1"/>
        <c:lblAlgn val="ctr"/>
        <c:lblOffset val="100"/>
        <c:noMultiLvlLbl val="0"/>
      </c:catAx>
      <c:valAx>
        <c:axId val="39631969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631761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/>
              <a:t>Average</a:t>
            </a:r>
            <a:r>
              <a:rPr lang="de-DE" baseline="0"/>
              <a:t> </a:t>
            </a:r>
            <a:r>
              <a:rPr lang="de-DE" baseline="0" err="1"/>
              <a:t>Ease</a:t>
            </a:r>
            <a:r>
              <a:rPr lang="de-DE" baseline="0"/>
              <a:t> </a:t>
            </a:r>
            <a:r>
              <a:rPr lang="de-DE" baseline="0" err="1"/>
              <a:t>of</a:t>
            </a:r>
            <a:r>
              <a:rPr lang="de-DE" baseline="0"/>
              <a:t> Use</a:t>
            </a:r>
            <a:endParaRPr lang="de-DE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45-54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Injectable</c:v>
                </c:pt>
                <c:pt idx="1">
                  <c:v>Non-injectable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.6</c:v>
                </c:pt>
                <c:pt idx="1">
                  <c:v>3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FC2-4FF2-B6AC-2C7B8646BF9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55-64</c:v>
                </c:pt>
              </c:strCache>
            </c:strRef>
          </c:tx>
          <c:spPr>
            <a:solidFill>
              <a:srgbClr val="007A94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Injectable</c:v>
                </c:pt>
                <c:pt idx="1">
                  <c:v>Non-injectable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3.5</c:v>
                </c:pt>
                <c:pt idx="1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FC2-4FF2-B6AC-2C7B8646BF9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65-74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Injectable</c:v>
                </c:pt>
                <c:pt idx="1">
                  <c:v>Non-injectable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3.28</c:v>
                </c:pt>
                <c:pt idx="1">
                  <c:v>3.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FC2-4FF2-B6AC-2C7B8646BF9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96317615"/>
        <c:axId val="396319695"/>
      </c:barChart>
      <c:catAx>
        <c:axId val="3963176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6319695"/>
        <c:crosses val="autoZero"/>
        <c:auto val="1"/>
        <c:lblAlgn val="ctr"/>
        <c:lblOffset val="100"/>
        <c:noMultiLvlLbl val="0"/>
      </c:catAx>
      <c:valAx>
        <c:axId val="39631969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631761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/>
              <a:t>Average</a:t>
            </a:r>
            <a:r>
              <a:rPr lang="de-DE" baseline="0"/>
              <a:t> </a:t>
            </a:r>
            <a:r>
              <a:rPr lang="de-DE" baseline="0" err="1"/>
              <a:t>Effectiveness</a:t>
            </a:r>
            <a:endParaRPr lang="de-DE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45-54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Injectable</c:v>
                </c:pt>
                <c:pt idx="1">
                  <c:v>Non-injectable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.8</c:v>
                </c:pt>
                <c:pt idx="1">
                  <c:v>1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148-47BF-A4A2-AE9D382F6F9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55-64</c:v>
                </c:pt>
              </c:strCache>
            </c:strRef>
          </c:tx>
          <c:spPr>
            <a:solidFill>
              <a:srgbClr val="007A94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Injectable</c:v>
                </c:pt>
                <c:pt idx="1">
                  <c:v>Non-injectable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2.6</c:v>
                </c:pt>
                <c:pt idx="1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148-47BF-A4A2-AE9D382F6F9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65-74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Injectable</c:v>
                </c:pt>
                <c:pt idx="1">
                  <c:v>Non-injectable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2.5</c:v>
                </c:pt>
                <c:pt idx="1">
                  <c:v>2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148-47BF-A4A2-AE9D382F6F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96317615"/>
        <c:axId val="396319695"/>
      </c:barChart>
      <c:catAx>
        <c:axId val="3963176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6319695"/>
        <c:crosses val="autoZero"/>
        <c:auto val="1"/>
        <c:lblAlgn val="ctr"/>
        <c:lblOffset val="100"/>
        <c:noMultiLvlLbl val="0"/>
      </c:catAx>
      <c:valAx>
        <c:axId val="39631969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631761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/>
              <a:t>Count of Injectable Medication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unt</c:v>
                </c:pt>
              </c:strCache>
            </c:strRef>
          </c:tx>
          <c:dPt>
            <c:idx val="0"/>
            <c:bubble3D val="0"/>
            <c:spPr>
              <a:solidFill>
                <a:schemeClr val="accent1">
                  <a:lumMod val="20000"/>
                  <a:lumOff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8104-4C34-8472-37ABBB96735D}"/>
              </c:ext>
            </c:extLst>
          </c:dPt>
          <c:dPt>
            <c:idx val="1"/>
            <c:bubble3D val="0"/>
            <c:spPr>
              <a:solidFill>
                <a:srgbClr val="007A9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104-4C34-8472-37ABBB96735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EE8A-4C04-96EF-B304D4D60D2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olia Syringe</c:v>
                </c:pt>
                <c:pt idx="1">
                  <c:v>Reclast Bottle, Infusion</c:v>
                </c:pt>
                <c:pt idx="2">
                  <c:v>Zometa Vial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77</c:v>
                </c:pt>
                <c:pt idx="1">
                  <c:v>357</c:v>
                </c:pt>
                <c:pt idx="2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104-4C34-8472-37ABBB9673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/>
              <a:t>Count of Non-injectable Medication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unt</c:v>
                </c:pt>
              </c:strCache>
            </c:strRef>
          </c:tx>
          <c:dPt>
            <c:idx val="0"/>
            <c:bubble3D val="0"/>
            <c:spPr>
              <a:solidFill>
                <a:schemeClr val="accent1">
                  <a:lumMod val="20000"/>
                  <a:lumOff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5E3-4458-AD99-D0B735464185}"/>
              </c:ext>
            </c:extLst>
          </c:dPt>
          <c:dPt>
            <c:idx val="1"/>
            <c:bubble3D val="0"/>
            <c:spPr>
              <a:solidFill>
                <a:srgbClr val="007A9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5E3-4458-AD99-D0B735464185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5E3-4458-AD99-D0B73546418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Altevia</c:v>
                </c:pt>
                <c:pt idx="1">
                  <c:v>Actonel 35 mg Tablet</c:v>
                </c:pt>
                <c:pt idx="2">
                  <c:v>Actonel Tablet Osteoporosis Agents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5</c:v>
                </c:pt>
                <c:pt idx="1">
                  <c:v>11</c:v>
                </c:pt>
                <c:pt idx="2">
                  <c:v>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5E3-4458-AD99-D0B7354641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43F057B-168E-4D7D-9AEE-AC2099D7CF13}" type="datetimeFigureOut">
              <a:rPr lang="de-DE" smtClean="0"/>
              <a:t>11.08.2022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272891-151C-422F-9047-A8E5C7B5072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181592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405518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 dirty="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4477170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 dirty="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6507051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 dirty="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203160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 dirty="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197290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 dirty="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675838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en-US" sz="1200" dirty="0">
                <a:sym typeface="Wingdings" panose="05000000000000000000" pitchFamily="2" charset="2"/>
              </a:rPr>
              <a:t>Out of the box model tuned on internet</a:t>
            </a:r>
          </a:p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en-US" sz="1200" dirty="0">
                <a:sym typeface="Wingdings" panose="05000000000000000000" pitchFamily="2" charset="2"/>
              </a:rPr>
              <a:t>Use it to classify</a:t>
            </a:r>
          </a:p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en-US" sz="1200" dirty="0">
                <a:sym typeface="Wingdings" panose="05000000000000000000" pitchFamily="2" charset="2"/>
              </a:rPr>
              <a:t>Tuning afterwards for better accurac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521187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 dirty="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896865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 dirty="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1503692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 dirty="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181048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 dirty="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84402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357482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 dirty="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916545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 dirty="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622581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 dirty="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4672353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en-US" sz="1200" dirty="0">
                <a:sym typeface="Wingdings" panose="05000000000000000000" pitchFamily="2" charset="2"/>
              </a:rPr>
              <a:t>45-54 who suffer less from cardiovascular side effects</a:t>
            </a:r>
          </a:p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en-US" sz="1200" dirty="0">
                <a:sym typeface="Wingdings" panose="05000000000000000000" pitchFamily="2" charset="2"/>
              </a:rPr>
              <a:t>Dizziness</a:t>
            </a:r>
          </a:p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en-US" sz="1200" dirty="0">
                <a:sym typeface="Wingdings" panose="05000000000000000000" pitchFamily="2" charset="2"/>
              </a:rPr>
              <a:t>Fast heart beat</a:t>
            </a:r>
          </a:p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en-US" sz="1200" dirty="0">
                <a:sym typeface="Wingdings" panose="05000000000000000000" pitchFamily="2" charset="2"/>
              </a:rPr>
              <a:t>Fatigue</a:t>
            </a:r>
          </a:p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en-US" sz="1200" dirty="0">
                <a:sym typeface="Wingdings" panose="05000000000000000000" pitchFamily="2" charset="2"/>
              </a:rPr>
              <a:t>Abdominal pain</a:t>
            </a:r>
          </a:p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 dirty="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5127438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en-US" sz="1200" dirty="0">
                <a:sym typeface="Wingdings" panose="05000000000000000000" pitchFamily="2" charset="2"/>
              </a:rPr>
              <a:t>45-54 who suffer less from cardiovascular side effects</a:t>
            </a:r>
          </a:p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en-US" sz="1200" dirty="0">
                <a:sym typeface="Wingdings" panose="05000000000000000000" pitchFamily="2" charset="2"/>
              </a:rPr>
              <a:t>Dizziness</a:t>
            </a:r>
          </a:p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en-US" sz="1200" dirty="0">
                <a:sym typeface="Wingdings" panose="05000000000000000000" pitchFamily="2" charset="2"/>
              </a:rPr>
              <a:t>Fast heart beat</a:t>
            </a:r>
          </a:p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en-US" sz="1200" dirty="0">
                <a:sym typeface="Wingdings" panose="05000000000000000000" pitchFamily="2" charset="2"/>
              </a:rPr>
              <a:t>Fatigue</a:t>
            </a:r>
          </a:p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en-US" sz="1200" dirty="0">
                <a:sym typeface="Wingdings" panose="05000000000000000000" pitchFamily="2" charset="2"/>
              </a:rPr>
              <a:t>Abdominal pain</a:t>
            </a:r>
          </a:p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 dirty="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410619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en-US" sz="1200" dirty="0">
                <a:sym typeface="Wingdings" panose="05000000000000000000" pitchFamily="2" charset="2"/>
              </a:rPr>
              <a:t>45-54 who suffer less from cardiovascular side effects</a:t>
            </a:r>
          </a:p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en-US" sz="1200" dirty="0">
                <a:sym typeface="Wingdings" panose="05000000000000000000" pitchFamily="2" charset="2"/>
              </a:rPr>
              <a:t>Dizziness</a:t>
            </a:r>
          </a:p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en-US" sz="1200" dirty="0">
                <a:sym typeface="Wingdings" panose="05000000000000000000" pitchFamily="2" charset="2"/>
              </a:rPr>
              <a:t>Fast heart beat</a:t>
            </a:r>
          </a:p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en-US" sz="1200" dirty="0">
                <a:sym typeface="Wingdings" panose="05000000000000000000" pitchFamily="2" charset="2"/>
              </a:rPr>
              <a:t>Fatigue</a:t>
            </a:r>
          </a:p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en-US" sz="1200" dirty="0">
                <a:sym typeface="Wingdings" panose="05000000000000000000" pitchFamily="2" charset="2"/>
              </a:rPr>
              <a:t>Abdominal pain</a:t>
            </a:r>
          </a:p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 dirty="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617244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en-US" sz="1200" dirty="0">
                <a:sym typeface="Wingdings" panose="05000000000000000000" pitchFamily="2" charset="2"/>
              </a:rPr>
              <a:t>45-54 who suffer less from cardiovascular side effects</a:t>
            </a:r>
          </a:p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en-US" sz="1200" dirty="0">
                <a:sym typeface="Wingdings" panose="05000000000000000000" pitchFamily="2" charset="2"/>
              </a:rPr>
              <a:t>Dizziness</a:t>
            </a:r>
          </a:p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en-US" sz="1200" dirty="0">
                <a:sym typeface="Wingdings" panose="05000000000000000000" pitchFamily="2" charset="2"/>
              </a:rPr>
              <a:t>Fast heart beat</a:t>
            </a:r>
          </a:p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en-US" sz="1200" dirty="0">
                <a:sym typeface="Wingdings" panose="05000000000000000000" pitchFamily="2" charset="2"/>
              </a:rPr>
              <a:t>Fatigue</a:t>
            </a:r>
          </a:p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en-US" sz="1200" dirty="0">
                <a:sym typeface="Wingdings" panose="05000000000000000000" pitchFamily="2" charset="2"/>
              </a:rPr>
              <a:t>Abdominal pain</a:t>
            </a:r>
          </a:p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 dirty="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005826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8272891-151C-422F-9047-A8E5C7B5072B}" type="slidenum">
              <a:rPr lang="de-DE" smtClean="0"/>
              <a:t>2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18451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Identify unknown side effects</a:t>
            </a:r>
          </a:p>
          <a:p>
            <a:r>
              <a:rPr lang="en-GB" dirty="0"/>
              <a:t>Effectiveness, does the medication work better on certain</a:t>
            </a:r>
          </a:p>
          <a:p>
            <a:r>
              <a:rPr lang="en-GB" dirty="0"/>
              <a:t>Second bullet point is the whole point of our analysis, we added “further”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8272891-151C-422F-9047-A8E5C7B5072B}" type="slidenum">
              <a:rPr lang="de-DE" smtClean="0"/>
              <a:t>3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943300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86886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167877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407423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err="1"/>
              <a:t>One</a:t>
            </a:r>
            <a:r>
              <a:rPr lang="de-DE"/>
              <a:t> </a:t>
            </a:r>
            <a:r>
              <a:rPr lang="de-DE" err="1"/>
              <a:t>or</a:t>
            </a:r>
            <a:r>
              <a:rPr lang="de-DE"/>
              <a:t> </a:t>
            </a:r>
            <a:r>
              <a:rPr lang="de-DE" err="1"/>
              <a:t>two</a:t>
            </a:r>
            <a:r>
              <a:rPr lang="de-DE"/>
              <a:t> </a:t>
            </a:r>
            <a:r>
              <a:rPr lang="de-DE" err="1"/>
              <a:t>sentences</a:t>
            </a:r>
            <a:r>
              <a:rPr lang="de-DE"/>
              <a:t>, </a:t>
            </a:r>
            <a:r>
              <a:rPr lang="de-DE" err="1"/>
              <a:t>distinct</a:t>
            </a:r>
            <a:r>
              <a:rPr lang="de-DE"/>
              <a:t> </a:t>
            </a:r>
            <a:r>
              <a:rPr lang="de-DE" err="1"/>
              <a:t>color</a:t>
            </a:r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8272891-151C-422F-9047-A8E5C7B5072B}" type="slidenum">
              <a:rPr lang="de-DE" smtClean="0"/>
              <a:t>3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4211127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b="1" dirty="0" err="1">
                <a:latin typeface="Segoe UI" panose="020B0502040204020203" pitchFamily="34" charset="0"/>
                <a:cs typeface="Calibri"/>
              </a:rPr>
              <a:t>Reclast</a:t>
            </a:r>
            <a:r>
              <a:rPr lang="en-US" b="1" dirty="0">
                <a:latin typeface="Segoe UI" panose="020B0502040204020203" pitchFamily="34" charset="0"/>
                <a:cs typeface="Calibri"/>
              </a:rPr>
              <a:t> bottle, infusion </a:t>
            </a:r>
            <a:r>
              <a:rPr lang="en-US" dirty="0">
                <a:latin typeface="Segoe UI" panose="020B0502040204020203" pitchFamily="34" charset="0"/>
                <a:cs typeface="Calibri"/>
              </a:rPr>
              <a:t>is the most effective medication, but also has serious side effec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4782106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6422311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Split </a:t>
            </a:r>
            <a:r>
              <a:rPr lang="de-DE" err="1"/>
              <a:t>up</a:t>
            </a:r>
            <a:r>
              <a:rPr lang="de-DE"/>
              <a:t> </a:t>
            </a:r>
            <a:r>
              <a:rPr lang="de-DE" err="1"/>
              <a:t>info</a:t>
            </a:r>
            <a:r>
              <a:rPr lang="de-DE"/>
              <a:t>, </a:t>
            </a:r>
            <a:r>
              <a:rPr lang="de-DE" err="1"/>
              <a:t>direct</a:t>
            </a:r>
            <a:r>
              <a:rPr lang="de-DE"/>
              <a:t> </a:t>
            </a:r>
            <a:r>
              <a:rPr lang="de-DE" err="1"/>
              <a:t>attention</a:t>
            </a:r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8272891-151C-422F-9047-A8E5C7B5072B}" type="slidenum">
              <a:rPr lang="de-DE" smtClean="0"/>
              <a:t>4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26365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3137990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 dirty="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70300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178605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755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8272891-151C-422F-9047-A8E5C7B5072B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7056879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 dirty="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54196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1FD06D-7FB2-4AA9-B282-B01E6C5516D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B328169-26A7-E04F-97AC-A3B6A3A34CA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5FEE23-B980-D0E0-5BCD-146A2D29CE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11.08.2022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3265DA-AB14-3DC7-11AF-936DA60A14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89F612-DDE6-21C3-A9C5-6CFAE2D4D6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35601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892F0C-0473-2F3A-14F0-A67C7EA0A4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8F84561-4E21-BC8E-DA01-FEAB1F8DFC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574943-D249-C804-DD5D-5A1B434536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11.08.2022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2E3B20-1292-FE35-40C7-E1852C349C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5B435E-A978-00FB-1C30-09140A4F9C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14461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55FC425-5096-3ADD-AABA-CD5EE134F03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BF1C759-1CE0-93C1-E0F8-34E367503DB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CC4F3D-3917-CFF0-EFC1-F75A63FC9A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11.08.2022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D9E9A9-360F-2447-EA9A-0E349E91C9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9CAE57-F940-BEDA-A6AE-FE4E3CDF8A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330637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II (Variable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S Picture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-8627" y="1"/>
            <a:ext cx="12200626" cy="6864770"/>
          </a:xfrm>
          <a:custGeom>
            <a:avLst/>
            <a:gdLst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856143"/>
              <a:gd name="connsiteX1" fmla="*/ 10490994 w 12191999"/>
              <a:gd name="connsiteY1" fmla="*/ 0 h 6856143"/>
              <a:gd name="connsiteX2" fmla="*/ 10488613 w 12191999"/>
              <a:gd name="connsiteY2" fmla="*/ 1143000 h 6856143"/>
              <a:gd name="connsiteX3" fmla="*/ 11641138 w 12191999"/>
              <a:gd name="connsiteY3" fmla="*/ 1143000 h 6856143"/>
              <a:gd name="connsiteX4" fmla="*/ 11641138 w 12191999"/>
              <a:gd name="connsiteY4" fmla="*/ 0 h 6856143"/>
              <a:gd name="connsiteX5" fmla="*/ 12191999 w 12191999"/>
              <a:gd name="connsiteY5" fmla="*/ 0 h 6856143"/>
              <a:gd name="connsiteX6" fmla="*/ 12191999 w 12191999"/>
              <a:gd name="connsiteY6" fmla="*/ 6856143 h 6856143"/>
              <a:gd name="connsiteX7" fmla="*/ 0 w 12191999"/>
              <a:gd name="connsiteY7" fmla="*/ 6597351 h 6856143"/>
              <a:gd name="connsiteX8" fmla="*/ 0 w 12191999"/>
              <a:gd name="connsiteY8" fmla="*/ 0 h 6856143"/>
              <a:gd name="connsiteX0" fmla="*/ 8627 w 12200626"/>
              <a:gd name="connsiteY0" fmla="*/ 0 h 6864770"/>
              <a:gd name="connsiteX1" fmla="*/ 10499621 w 12200626"/>
              <a:gd name="connsiteY1" fmla="*/ 0 h 6864770"/>
              <a:gd name="connsiteX2" fmla="*/ 10497240 w 12200626"/>
              <a:gd name="connsiteY2" fmla="*/ 1143000 h 6864770"/>
              <a:gd name="connsiteX3" fmla="*/ 11649765 w 12200626"/>
              <a:gd name="connsiteY3" fmla="*/ 1143000 h 6864770"/>
              <a:gd name="connsiteX4" fmla="*/ 11649765 w 12200626"/>
              <a:gd name="connsiteY4" fmla="*/ 0 h 6864770"/>
              <a:gd name="connsiteX5" fmla="*/ 12200626 w 12200626"/>
              <a:gd name="connsiteY5" fmla="*/ 0 h 6864770"/>
              <a:gd name="connsiteX6" fmla="*/ 12200626 w 12200626"/>
              <a:gd name="connsiteY6" fmla="*/ 6856143 h 6864770"/>
              <a:gd name="connsiteX7" fmla="*/ 0 w 12200626"/>
              <a:gd name="connsiteY7" fmla="*/ 6864770 h 6864770"/>
              <a:gd name="connsiteX8" fmla="*/ 8627 w 12200626"/>
              <a:gd name="connsiteY8" fmla="*/ 0 h 6864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00626" h="6864770">
                <a:moveTo>
                  <a:pt x="8627" y="0"/>
                </a:moveTo>
                <a:lnTo>
                  <a:pt x="10499621" y="0"/>
                </a:lnTo>
                <a:cubicBezTo>
                  <a:pt x="10498827" y="381000"/>
                  <a:pt x="10498034" y="762000"/>
                  <a:pt x="10497240" y="1143000"/>
                </a:cubicBezTo>
                <a:lnTo>
                  <a:pt x="11649765" y="1143000"/>
                </a:lnTo>
                <a:lnTo>
                  <a:pt x="11649765" y="0"/>
                </a:lnTo>
                <a:lnTo>
                  <a:pt x="12200626" y="0"/>
                </a:lnTo>
                <a:lnTo>
                  <a:pt x="12200626" y="6856143"/>
                </a:lnTo>
                <a:lnTo>
                  <a:pt x="0" y="6864770"/>
                </a:lnTo>
                <a:cubicBezTo>
                  <a:pt x="2876" y="4576513"/>
                  <a:pt x="5751" y="2288257"/>
                  <a:pt x="8627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</a:t>
            </a:r>
            <a:br>
              <a:rPr lang="de-DE"/>
            </a:br>
            <a:r>
              <a:rPr lang="de-DE"/>
              <a:t>Klicken</a:t>
            </a:r>
            <a:br>
              <a:rPr lang="de-DE"/>
            </a:br>
            <a:r>
              <a:rPr lang="de-DE"/>
              <a:t> auf Symbol </a:t>
            </a:r>
            <a:br>
              <a:rPr lang="de-DE"/>
            </a:br>
            <a:r>
              <a:rPr lang="de-DE"/>
              <a:t>hinzufügen</a:t>
            </a:r>
          </a:p>
        </p:txBody>
      </p:sp>
      <p:sp>
        <p:nvSpPr>
          <p:cNvPr id="6" name="CS Action title Placeholder"/>
          <p:cNvSpPr>
            <a:spLocks noGrp="1"/>
          </p:cNvSpPr>
          <p:nvPr>
            <p:ph type="title" hasCustomPrompt="1"/>
          </p:nvPr>
        </p:nvSpPr>
        <p:spPr>
          <a:xfrm>
            <a:off x="550800" y="3790800"/>
            <a:ext cx="4591651" cy="1214663"/>
          </a:xfr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lIns="180000" tIns="144000" rIns="216000" bIns="180000" anchor="ctr" anchorCtr="0"/>
          <a:lstStyle>
            <a:lvl1pPr>
              <a:defRPr b="0"/>
            </a:lvl1pPr>
          </a:lstStyle>
          <a:p>
            <a:r>
              <a:rPr lang="en-US"/>
              <a:t>Click to insert action title.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869557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Variable Pictur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/>
          <p:cNvSpPr>
            <a:spLocks noGrp="1"/>
          </p:cNvSpPr>
          <p:nvPr>
            <p:ph type="pic" sz="quarter" idx="14"/>
          </p:nvPr>
        </p:nvSpPr>
        <p:spPr>
          <a:xfrm>
            <a:off x="-6558" y="-864"/>
            <a:ext cx="12198453" cy="6873623"/>
          </a:xfrm>
          <a:custGeom>
            <a:avLst/>
            <a:gdLst>
              <a:gd name="connsiteX0" fmla="*/ 0 w 5426179"/>
              <a:gd name="connsiteY0" fmla="*/ 0 h 3828004"/>
              <a:gd name="connsiteX1" fmla="*/ 5426179 w 5426179"/>
              <a:gd name="connsiteY1" fmla="*/ 0 h 3828004"/>
              <a:gd name="connsiteX2" fmla="*/ 5426179 w 5426179"/>
              <a:gd name="connsiteY2" fmla="*/ 3828004 h 3828004"/>
              <a:gd name="connsiteX3" fmla="*/ 0 w 5426179"/>
              <a:gd name="connsiteY3" fmla="*/ 3828004 h 3828004"/>
              <a:gd name="connsiteX4" fmla="*/ 0 w 5426179"/>
              <a:gd name="connsiteY4" fmla="*/ 0 h 3828004"/>
              <a:gd name="connsiteX5" fmla="*/ 478501 w 5426179"/>
              <a:gd name="connsiteY5" fmla="*/ 478501 h 3828004"/>
              <a:gd name="connsiteX6" fmla="*/ 478501 w 5426179"/>
              <a:gd name="connsiteY6" fmla="*/ 3349504 h 3828004"/>
              <a:gd name="connsiteX7" fmla="*/ 4947679 w 5426179"/>
              <a:gd name="connsiteY7" fmla="*/ 3349504 h 3828004"/>
              <a:gd name="connsiteX8" fmla="*/ 4947679 w 5426179"/>
              <a:gd name="connsiteY8" fmla="*/ 478501 h 3828004"/>
              <a:gd name="connsiteX9" fmla="*/ 478501 w 5426179"/>
              <a:gd name="connsiteY9" fmla="*/ 478501 h 3828004"/>
              <a:gd name="connsiteX0" fmla="*/ 0 w 7512154"/>
              <a:gd name="connsiteY0" fmla="*/ 0 h 5571079"/>
              <a:gd name="connsiteX1" fmla="*/ 7512154 w 7512154"/>
              <a:gd name="connsiteY1" fmla="*/ 1743075 h 5571079"/>
              <a:gd name="connsiteX2" fmla="*/ 7512154 w 7512154"/>
              <a:gd name="connsiteY2" fmla="*/ 5571079 h 5571079"/>
              <a:gd name="connsiteX3" fmla="*/ 2085975 w 7512154"/>
              <a:gd name="connsiteY3" fmla="*/ 5571079 h 5571079"/>
              <a:gd name="connsiteX4" fmla="*/ 0 w 7512154"/>
              <a:gd name="connsiteY4" fmla="*/ 0 h 5571079"/>
              <a:gd name="connsiteX5" fmla="*/ 2564476 w 7512154"/>
              <a:gd name="connsiteY5" fmla="*/ 2221576 h 5571079"/>
              <a:gd name="connsiteX6" fmla="*/ 2564476 w 7512154"/>
              <a:gd name="connsiteY6" fmla="*/ 5092579 h 5571079"/>
              <a:gd name="connsiteX7" fmla="*/ 7033654 w 7512154"/>
              <a:gd name="connsiteY7" fmla="*/ 5092579 h 5571079"/>
              <a:gd name="connsiteX8" fmla="*/ 7033654 w 7512154"/>
              <a:gd name="connsiteY8" fmla="*/ 2221576 h 5571079"/>
              <a:gd name="connsiteX9" fmla="*/ 2564476 w 7512154"/>
              <a:gd name="connsiteY9" fmla="*/ 2221576 h 5571079"/>
              <a:gd name="connsiteX0" fmla="*/ 0 w 12227029"/>
              <a:gd name="connsiteY0" fmla="*/ 9525 h 5580604"/>
              <a:gd name="connsiteX1" fmla="*/ 12227029 w 12227029"/>
              <a:gd name="connsiteY1" fmla="*/ 0 h 5580604"/>
              <a:gd name="connsiteX2" fmla="*/ 7512154 w 12227029"/>
              <a:gd name="connsiteY2" fmla="*/ 5580604 h 5580604"/>
              <a:gd name="connsiteX3" fmla="*/ 2085975 w 12227029"/>
              <a:gd name="connsiteY3" fmla="*/ 5580604 h 5580604"/>
              <a:gd name="connsiteX4" fmla="*/ 0 w 12227029"/>
              <a:gd name="connsiteY4" fmla="*/ 9525 h 5580604"/>
              <a:gd name="connsiteX5" fmla="*/ 2564476 w 12227029"/>
              <a:gd name="connsiteY5" fmla="*/ 2231101 h 5580604"/>
              <a:gd name="connsiteX6" fmla="*/ 2564476 w 12227029"/>
              <a:gd name="connsiteY6" fmla="*/ 5102104 h 5580604"/>
              <a:gd name="connsiteX7" fmla="*/ 7033654 w 12227029"/>
              <a:gd name="connsiteY7" fmla="*/ 5102104 h 5580604"/>
              <a:gd name="connsiteX8" fmla="*/ 7033654 w 12227029"/>
              <a:gd name="connsiteY8" fmla="*/ 2231101 h 5580604"/>
              <a:gd name="connsiteX9" fmla="*/ 2564476 w 12227029"/>
              <a:gd name="connsiteY9" fmla="*/ 2231101 h 5580604"/>
              <a:gd name="connsiteX0" fmla="*/ 0 w 12227029"/>
              <a:gd name="connsiteY0" fmla="*/ 9525 h 6847429"/>
              <a:gd name="connsiteX1" fmla="*/ 12227029 w 12227029"/>
              <a:gd name="connsiteY1" fmla="*/ 0 h 6847429"/>
              <a:gd name="connsiteX2" fmla="*/ 12207979 w 12227029"/>
              <a:gd name="connsiteY2" fmla="*/ 6847429 h 6847429"/>
              <a:gd name="connsiteX3" fmla="*/ 2085975 w 12227029"/>
              <a:gd name="connsiteY3" fmla="*/ 5580604 h 6847429"/>
              <a:gd name="connsiteX4" fmla="*/ 0 w 12227029"/>
              <a:gd name="connsiteY4" fmla="*/ 9525 h 6847429"/>
              <a:gd name="connsiteX5" fmla="*/ 2564476 w 12227029"/>
              <a:gd name="connsiteY5" fmla="*/ 2231101 h 6847429"/>
              <a:gd name="connsiteX6" fmla="*/ 2564476 w 12227029"/>
              <a:gd name="connsiteY6" fmla="*/ 5102104 h 6847429"/>
              <a:gd name="connsiteX7" fmla="*/ 7033654 w 12227029"/>
              <a:gd name="connsiteY7" fmla="*/ 5102104 h 6847429"/>
              <a:gd name="connsiteX8" fmla="*/ 7033654 w 12227029"/>
              <a:gd name="connsiteY8" fmla="*/ 2231101 h 6847429"/>
              <a:gd name="connsiteX9" fmla="*/ 2564476 w 12227029"/>
              <a:gd name="connsiteY9" fmla="*/ 2231101 h 6847429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2564476 w 12227029"/>
              <a:gd name="connsiteY5" fmla="*/ 2231101 h 6856954"/>
              <a:gd name="connsiteX6" fmla="*/ 2564476 w 12227029"/>
              <a:gd name="connsiteY6" fmla="*/ 5102104 h 6856954"/>
              <a:gd name="connsiteX7" fmla="*/ 7033654 w 12227029"/>
              <a:gd name="connsiteY7" fmla="*/ 5102104 h 6856954"/>
              <a:gd name="connsiteX8" fmla="*/ 7033654 w 12227029"/>
              <a:gd name="connsiteY8" fmla="*/ 2231101 h 6856954"/>
              <a:gd name="connsiteX9" fmla="*/ 2564476 w 12227029"/>
              <a:gd name="connsiteY9" fmla="*/ 2231101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2564476 w 12227029"/>
              <a:gd name="connsiteY5" fmla="*/ 2231101 h 6856954"/>
              <a:gd name="connsiteX6" fmla="*/ 2564476 w 12227029"/>
              <a:gd name="connsiteY6" fmla="*/ 5102104 h 6856954"/>
              <a:gd name="connsiteX7" fmla="*/ 7033654 w 12227029"/>
              <a:gd name="connsiteY7" fmla="*/ 5102104 h 6856954"/>
              <a:gd name="connsiteX8" fmla="*/ 7090804 w 12227029"/>
              <a:gd name="connsiteY8" fmla="*/ 1097626 h 6856954"/>
              <a:gd name="connsiteX9" fmla="*/ 2564476 w 12227029"/>
              <a:gd name="connsiteY9" fmla="*/ 2231101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2564476 w 12227029"/>
              <a:gd name="connsiteY5" fmla="*/ 2231101 h 6856954"/>
              <a:gd name="connsiteX6" fmla="*/ 2564476 w 12227029"/>
              <a:gd name="connsiteY6" fmla="*/ 5102104 h 6856954"/>
              <a:gd name="connsiteX7" fmla="*/ 7100329 w 12227029"/>
              <a:gd name="connsiteY7" fmla="*/ 2235079 h 6856954"/>
              <a:gd name="connsiteX8" fmla="*/ 7090804 w 12227029"/>
              <a:gd name="connsiteY8" fmla="*/ 1097626 h 6856954"/>
              <a:gd name="connsiteX9" fmla="*/ 2564476 w 12227029"/>
              <a:gd name="connsiteY9" fmla="*/ 2231101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6003001 w 12227029"/>
              <a:gd name="connsiteY5" fmla="*/ 1116676 h 6856954"/>
              <a:gd name="connsiteX6" fmla="*/ 2564476 w 12227029"/>
              <a:gd name="connsiteY6" fmla="*/ 5102104 h 6856954"/>
              <a:gd name="connsiteX7" fmla="*/ 7100329 w 12227029"/>
              <a:gd name="connsiteY7" fmla="*/ 2235079 h 6856954"/>
              <a:gd name="connsiteX8" fmla="*/ 7090804 w 12227029"/>
              <a:gd name="connsiteY8" fmla="*/ 1097626 h 6856954"/>
              <a:gd name="connsiteX9" fmla="*/ 6003001 w 12227029"/>
              <a:gd name="connsiteY9" fmla="*/ 1116676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6003001 w 12227029"/>
              <a:gd name="connsiteY5" fmla="*/ 1116676 h 6856954"/>
              <a:gd name="connsiteX6" fmla="*/ 5964901 w 12227029"/>
              <a:gd name="connsiteY6" fmla="*/ 2263654 h 6856954"/>
              <a:gd name="connsiteX7" fmla="*/ 7100329 w 12227029"/>
              <a:gd name="connsiteY7" fmla="*/ 2235079 h 6856954"/>
              <a:gd name="connsiteX8" fmla="*/ 7090804 w 12227029"/>
              <a:gd name="connsiteY8" fmla="*/ 1097626 h 6856954"/>
              <a:gd name="connsiteX9" fmla="*/ 6003001 w 12227029"/>
              <a:gd name="connsiteY9" fmla="*/ 1116676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6003001 w 12227029"/>
              <a:gd name="connsiteY5" fmla="*/ 1116676 h 6856954"/>
              <a:gd name="connsiteX6" fmla="*/ 5964901 w 12227029"/>
              <a:gd name="connsiteY6" fmla="*/ 2263654 h 6856954"/>
              <a:gd name="connsiteX7" fmla="*/ 7102710 w 12227029"/>
              <a:gd name="connsiteY7" fmla="*/ 2256510 h 6856954"/>
              <a:gd name="connsiteX8" fmla="*/ 7090804 w 12227029"/>
              <a:gd name="connsiteY8" fmla="*/ 1097626 h 6856954"/>
              <a:gd name="connsiteX9" fmla="*/ 6003001 w 12227029"/>
              <a:gd name="connsiteY9" fmla="*/ 1116676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6003001 w 12227029"/>
              <a:gd name="connsiteY5" fmla="*/ 1116676 h 6856954"/>
              <a:gd name="connsiteX6" fmla="*/ 5969664 w 12227029"/>
              <a:gd name="connsiteY6" fmla="*/ 2256510 h 6856954"/>
              <a:gd name="connsiteX7" fmla="*/ 7102710 w 12227029"/>
              <a:gd name="connsiteY7" fmla="*/ 2256510 h 6856954"/>
              <a:gd name="connsiteX8" fmla="*/ 7090804 w 12227029"/>
              <a:gd name="connsiteY8" fmla="*/ 1097626 h 6856954"/>
              <a:gd name="connsiteX9" fmla="*/ 6003001 w 12227029"/>
              <a:gd name="connsiteY9" fmla="*/ 1116676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6003001 w 12227029"/>
              <a:gd name="connsiteY5" fmla="*/ 1116676 h 6856954"/>
              <a:gd name="connsiteX6" fmla="*/ 5969664 w 12227029"/>
              <a:gd name="connsiteY6" fmla="*/ 2256510 h 6856954"/>
              <a:gd name="connsiteX7" fmla="*/ 7102710 w 12227029"/>
              <a:gd name="connsiteY7" fmla="*/ 2256510 h 6856954"/>
              <a:gd name="connsiteX8" fmla="*/ 7102710 w 12227029"/>
              <a:gd name="connsiteY8" fmla="*/ 1116676 h 6856954"/>
              <a:gd name="connsiteX9" fmla="*/ 6003001 w 12227029"/>
              <a:gd name="connsiteY9" fmla="*/ 1116676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5964901 w 12227029"/>
              <a:gd name="connsiteY5" fmla="*/ 1114294 h 6856954"/>
              <a:gd name="connsiteX6" fmla="*/ 5969664 w 12227029"/>
              <a:gd name="connsiteY6" fmla="*/ 2256510 h 6856954"/>
              <a:gd name="connsiteX7" fmla="*/ 7102710 w 12227029"/>
              <a:gd name="connsiteY7" fmla="*/ 2256510 h 6856954"/>
              <a:gd name="connsiteX8" fmla="*/ 7102710 w 12227029"/>
              <a:gd name="connsiteY8" fmla="*/ 1116676 h 6856954"/>
              <a:gd name="connsiteX9" fmla="*/ 5964901 w 12227029"/>
              <a:gd name="connsiteY9" fmla="*/ 1114294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5964901 w 12227029"/>
              <a:gd name="connsiteY5" fmla="*/ 1114294 h 6856954"/>
              <a:gd name="connsiteX6" fmla="*/ 5969664 w 12227029"/>
              <a:gd name="connsiteY6" fmla="*/ 2256510 h 6856954"/>
              <a:gd name="connsiteX7" fmla="*/ 7102710 w 12227029"/>
              <a:gd name="connsiteY7" fmla="*/ 2256510 h 6856954"/>
              <a:gd name="connsiteX8" fmla="*/ 7102710 w 12227029"/>
              <a:gd name="connsiteY8" fmla="*/ 1119058 h 6856954"/>
              <a:gd name="connsiteX9" fmla="*/ 5964901 w 12227029"/>
              <a:gd name="connsiteY9" fmla="*/ 1114294 h 6856954"/>
              <a:gd name="connsiteX0" fmla="*/ 0 w 12212741"/>
              <a:gd name="connsiteY0" fmla="*/ 0 h 6864098"/>
              <a:gd name="connsiteX1" fmla="*/ 12212741 w 12212741"/>
              <a:gd name="connsiteY1" fmla="*/ 7144 h 6864098"/>
              <a:gd name="connsiteX2" fmla="*/ 12193691 w 12212741"/>
              <a:gd name="connsiteY2" fmla="*/ 6854573 h 6864098"/>
              <a:gd name="connsiteX3" fmla="*/ 4762 w 12212741"/>
              <a:gd name="connsiteY3" fmla="*/ 6864098 h 6864098"/>
              <a:gd name="connsiteX4" fmla="*/ 0 w 12212741"/>
              <a:gd name="connsiteY4" fmla="*/ 0 h 6864098"/>
              <a:gd name="connsiteX5" fmla="*/ 5950613 w 12212741"/>
              <a:gd name="connsiteY5" fmla="*/ 1121438 h 6864098"/>
              <a:gd name="connsiteX6" fmla="*/ 5955376 w 12212741"/>
              <a:gd name="connsiteY6" fmla="*/ 2263654 h 6864098"/>
              <a:gd name="connsiteX7" fmla="*/ 7088422 w 12212741"/>
              <a:gd name="connsiteY7" fmla="*/ 2263654 h 6864098"/>
              <a:gd name="connsiteX8" fmla="*/ 7088422 w 12212741"/>
              <a:gd name="connsiteY8" fmla="*/ 1126202 h 6864098"/>
              <a:gd name="connsiteX9" fmla="*/ 5950613 w 12212741"/>
              <a:gd name="connsiteY9" fmla="*/ 1121438 h 6864098"/>
              <a:gd name="connsiteX0" fmla="*/ 0 w 12193691"/>
              <a:gd name="connsiteY0" fmla="*/ 0 h 6864098"/>
              <a:gd name="connsiteX1" fmla="*/ 12191310 w 12193691"/>
              <a:gd name="connsiteY1" fmla="*/ 2381 h 6864098"/>
              <a:gd name="connsiteX2" fmla="*/ 12193691 w 12193691"/>
              <a:gd name="connsiteY2" fmla="*/ 6854573 h 6864098"/>
              <a:gd name="connsiteX3" fmla="*/ 4762 w 12193691"/>
              <a:gd name="connsiteY3" fmla="*/ 6864098 h 6864098"/>
              <a:gd name="connsiteX4" fmla="*/ 0 w 12193691"/>
              <a:gd name="connsiteY4" fmla="*/ 0 h 6864098"/>
              <a:gd name="connsiteX5" fmla="*/ 5950613 w 12193691"/>
              <a:gd name="connsiteY5" fmla="*/ 1121438 h 6864098"/>
              <a:gd name="connsiteX6" fmla="*/ 5955376 w 12193691"/>
              <a:gd name="connsiteY6" fmla="*/ 2263654 h 6864098"/>
              <a:gd name="connsiteX7" fmla="*/ 7088422 w 12193691"/>
              <a:gd name="connsiteY7" fmla="*/ 2263654 h 6864098"/>
              <a:gd name="connsiteX8" fmla="*/ 7088422 w 12193691"/>
              <a:gd name="connsiteY8" fmla="*/ 1126202 h 6864098"/>
              <a:gd name="connsiteX9" fmla="*/ 5950613 w 12193691"/>
              <a:gd name="connsiteY9" fmla="*/ 1121438 h 6864098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54573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55376 w 12198454"/>
              <a:gd name="connsiteY5" fmla="*/ 1121438 h 6873623"/>
              <a:gd name="connsiteX6" fmla="*/ 5960139 w 12198454"/>
              <a:gd name="connsiteY6" fmla="*/ 2263654 h 6873623"/>
              <a:gd name="connsiteX7" fmla="*/ 7093185 w 12198454"/>
              <a:gd name="connsiteY7" fmla="*/ 2263654 h 6873623"/>
              <a:gd name="connsiteX8" fmla="*/ 7093185 w 12198454"/>
              <a:gd name="connsiteY8" fmla="*/ 1126202 h 6873623"/>
              <a:gd name="connsiteX9" fmla="*/ 5955376 w 12198454"/>
              <a:gd name="connsiteY9" fmla="*/ 1121438 h 6873623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64098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55376 w 12198454"/>
              <a:gd name="connsiteY5" fmla="*/ 1121438 h 6873623"/>
              <a:gd name="connsiteX6" fmla="*/ 5960139 w 12198454"/>
              <a:gd name="connsiteY6" fmla="*/ 2263654 h 6873623"/>
              <a:gd name="connsiteX7" fmla="*/ 7093185 w 12198454"/>
              <a:gd name="connsiteY7" fmla="*/ 2263654 h 6873623"/>
              <a:gd name="connsiteX8" fmla="*/ 7093185 w 12198454"/>
              <a:gd name="connsiteY8" fmla="*/ 1126202 h 6873623"/>
              <a:gd name="connsiteX9" fmla="*/ 5955376 w 12198454"/>
              <a:gd name="connsiteY9" fmla="*/ 1121438 h 6873623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64098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55376 w 12198454"/>
              <a:gd name="connsiteY5" fmla="*/ 1121438 h 6873623"/>
              <a:gd name="connsiteX6" fmla="*/ 5960139 w 12198454"/>
              <a:gd name="connsiteY6" fmla="*/ 2263654 h 6873623"/>
              <a:gd name="connsiteX7" fmla="*/ 7093185 w 12198454"/>
              <a:gd name="connsiteY7" fmla="*/ 2263654 h 6873623"/>
              <a:gd name="connsiteX8" fmla="*/ 7107472 w 12198454"/>
              <a:gd name="connsiteY8" fmla="*/ 1126202 h 6873623"/>
              <a:gd name="connsiteX9" fmla="*/ 5955376 w 12198454"/>
              <a:gd name="connsiteY9" fmla="*/ 1121438 h 6873623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64098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55376 w 12198454"/>
              <a:gd name="connsiteY5" fmla="*/ 1121438 h 6873623"/>
              <a:gd name="connsiteX6" fmla="*/ 5960139 w 12198454"/>
              <a:gd name="connsiteY6" fmla="*/ 2263654 h 6873623"/>
              <a:gd name="connsiteX7" fmla="*/ 7107472 w 12198454"/>
              <a:gd name="connsiteY7" fmla="*/ 2263654 h 6873623"/>
              <a:gd name="connsiteX8" fmla="*/ 7107472 w 12198454"/>
              <a:gd name="connsiteY8" fmla="*/ 1126202 h 6873623"/>
              <a:gd name="connsiteX9" fmla="*/ 5955376 w 12198454"/>
              <a:gd name="connsiteY9" fmla="*/ 1121438 h 6873623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64098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55376 w 12198454"/>
              <a:gd name="connsiteY5" fmla="*/ 1121438 h 6873623"/>
              <a:gd name="connsiteX6" fmla="*/ 5960139 w 12198454"/>
              <a:gd name="connsiteY6" fmla="*/ 2263654 h 6873623"/>
              <a:gd name="connsiteX7" fmla="*/ 7107472 w 12198454"/>
              <a:gd name="connsiteY7" fmla="*/ 2263654 h 6873623"/>
              <a:gd name="connsiteX8" fmla="*/ 7107472 w 12198454"/>
              <a:gd name="connsiteY8" fmla="*/ 1121440 h 6873623"/>
              <a:gd name="connsiteX9" fmla="*/ 5955376 w 12198454"/>
              <a:gd name="connsiteY9" fmla="*/ 1121438 h 6873623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64098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60138 w 12198454"/>
              <a:gd name="connsiteY5" fmla="*/ 1121438 h 6873623"/>
              <a:gd name="connsiteX6" fmla="*/ 5960139 w 12198454"/>
              <a:gd name="connsiteY6" fmla="*/ 2263654 h 6873623"/>
              <a:gd name="connsiteX7" fmla="*/ 7107472 w 12198454"/>
              <a:gd name="connsiteY7" fmla="*/ 2263654 h 6873623"/>
              <a:gd name="connsiteX8" fmla="*/ 7107472 w 12198454"/>
              <a:gd name="connsiteY8" fmla="*/ 1121440 h 6873623"/>
              <a:gd name="connsiteX9" fmla="*/ 5960138 w 12198454"/>
              <a:gd name="connsiteY9" fmla="*/ 1121438 h 68736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8454" h="6873623">
                <a:moveTo>
                  <a:pt x="4763" y="0"/>
                </a:moveTo>
                <a:lnTo>
                  <a:pt x="12196073" y="2381"/>
                </a:lnTo>
                <a:cubicBezTo>
                  <a:pt x="12196867" y="2286445"/>
                  <a:pt x="12197660" y="4580034"/>
                  <a:pt x="12198454" y="6864098"/>
                </a:cubicBezTo>
                <a:lnTo>
                  <a:pt x="0" y="6873623"/>
                </a:lnTo>
                <a:cubicBezTo>
                  <a:pt x="0" y="5597622"/>
                  <a:pt x="4763" y="1276001"/>
                  <a:pt x="4763" y="0"/>
                </a:cubicBezTo>
                <a:close/>
                <a:moveTo>
                  <a:pt x="5960138" y="1121438"/>
                </a:moveTo>
                <a:cubicBezTo>
                  <a:pt x="5961726" y="1502177"/>
                  <a:pt x="5958551" y="1882915"/>
                  <a:pt x="5960139" y="2263654"/>
                </a:cubicBezTo>
                <a:lnTo>
                  <a:pt x="7107472" y="2263654"/>
                </a:lnTo>
                <a:lnTo>
                  <a:pt x="7107472" y="1121440"/>
                </a:lnTo>
                <a:lnTo>
                  <a:pt x="5960138" y="112143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CS Location Date Placeholder"/>
          <p:cNvSpPr>
            <a:spLocks noGrp="1"/>
          </p:cNvSpPr>
          <p:nvPr>
            <p:ph type="subTitle" idx="1" hasCustomPrompt="1"/>
          </p:nvPr>
        </p:nvSpPr>
        <p:spPr>
          <a:xfrm>
            <a:off x="3106800" y="4438800"/>
            <a:ext cx="2844000" cy="288000"/>
          </a:xfrm>
          <a:solidFill>
            <a:schemeClr val="accent2"/>
          </a:solidFill>
        </p:spPr>
        <p:txBody>
          <a:bodyPr lIns="252000" rIns="72000" anchor="ctr" anchorCtr="0">
            <a:normAutofit/>
          </a:bodyPr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457206" indent="0" algn="ctr">
              <a:buNone/>
              <a:defRPr sz="2000"/>
            </a:lvl2pPr>
            <a:lvl3pPr marL="914411" indent="0" algn="ctr">
              <a:buNone/>
              <a:defRPr sz="1800"/>
            </a:lvl3pPr>
            <a:lvl4pPr marL="1371617" indent="0" algn="ctr">
              <a:buNone/>
              <a:defRPr sz="1600"/>
            </a:lvl4pPr>
            <a:lvl5pPr marL="1828823" indent="0" algn="ctr">
              <a:buNone/>
              <a:defRPr sz="1600"/>
            </a:lvl5pPr>
            <a:lvl6pPr marL="2286029" indent="0" algn="ctr">
              <a:buNone/>
              <a:defRPr sz="1600"/>
            </a:lvl6pPr>
            <a:lvl7pPr marL="2743234" indent="0" algn="ctr">
              <a:buNone/>
              <a:defRPr sz="1600"/>
            </a:lvl7pPr>
            <a:lvl8pPr marL="3200440" indent="0" algn="ctr">
              <a:buNone/>
              <a:defRPr sz="1600"/>
            </a:lvl8pPr>
            <a:lvl9pPr marL="3657646" indent="0" algn="ctr">
              <a:buNone/>
              <a:defRPr sz="1600"/>
            </a:lvl9pPr>
          </a:lstStyle>
          <a:p>
            <a:r>
              <a:rPr lang="de-DE"/>
              <a:t>Ort, TT.MM.JJJJ</a:t>
            </a:r>
          </a:p>
        </p:txBody>
      </p:sp>
      <p:pic>
        <p:nvPicPr>
          <p:cNvPr id="7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51985" y="1124743"/>
            <a:ext cx="1152524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CS Action title Placeholder"/>
          <p:cNvSpPr>
            <a:spLocks noGrp="1"/>
          </p:cNvSpPr>
          <p:nvPr>
            <p:ph type="title" hasCustomPrompt="1"/>
          </p:nvPr>
        </p:nvSpPr>
        <p:spPr>
          <a:xfrm>
            <a:off x="550800" y="1124743"/>
            <a:ext cx="5400000" cy="3310040"/>
          </a:xfr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lIns="288000" tIns="180000" rIns="216000" bIns="180000"/>
          <a:lstStyle>
            <a:lvl1pPr>
              <a:defRPr/>
            </a:lvl1pPr>
          </a:lstStyle>
          <a:p>
            <a:r>
              <a:rPr lang="de-DE"/>
              <a:t>Titelmasterformat durch Klicken bearbeiten.</a:t>
            </a:r>
          </a:p>
        </p:txBody>
      </p:sp>
      <p:sp>
        <p:nvSpPr>
          <p:cNvPr id="13" name="CSVersion"/>
          <p:cNvSpPr/>
          <p:nvPr userDrawn="1"/>
        </p:nvSpPr>
        <p:spPr>
          <a:xfrm>
            <a:off x="5411392" y="4254783"/>
            <a:ext cx="54000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800">
                <a:solidFill>
                  <a:schemeClr val="bg1"/>
                </a:solidFill>
              </a:rPr>
              <a:t>V 14.11</a:t>
            </a:r>
          </a:p>
        </p:txBody>
      </p:sp>
    </p:spTree>
    <p:extLst>
      <p:ext uri="{BB962C8B-B14F-4D97-AF65-F5344CB8AC3E}">
        <p14:creationId xmlns:p14="http://schemas.microsoft.com/office/powerpoint/2010/main" val="90296543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I (Variable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S Picture">
            <a:extLst>
              <a:ext uri="{FF2B5EF4-FFF2-40B4-BE49-F238E27FC236}">
                <a16:creationId xmlns:a16="http://schemas.microsoft.com/office/drawing/2014/main" id="{8BBCE0C9-B05F-4352-8BA6-E65112EF93E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-8628" y="1"/>
            <a:ext cx="12200626" cy="6864770"/>
          </a:xfrm>
          <a:custGeom>
            <a:avLst/>
            <a:gdLst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856143"/>
              <a:gd name="connsiteX1" fmla="*/ 10490994 w 12191999"/>
              <a:gd name="connsiteY1" fmla="*/ 0 h 6856143"/>
              <a:gd name="connsiteX2" fmla="*/ 10488613 w 12191999"/>
              <a:gd name="connsiteY2" fmla="*/ 1143000 h 6856143"/>
              <a:gd name="connsiteX3" fmla="*/ 11641138 w 12191999"/>
              <a:gd name="connsiteY3" fmla="*/ 1143000 h 6856143"/>
              <a:gd name="connsiteX4" fmla="*/ 11641138 w 12191999"/>
              <a:gd name="connsiteY4" fmla="*/ 0 h 6856143"/>
              <a:gd name="connsiteX5" fmla="*/ 12191999 w 12191999"/>
              <a:gd name="connsiteY5" fmla="*/ 0 h 6856143"/>
              <a:gd name="connsiteX6" fmla="*/ 12191999 w 12191999"/>
              <a:gd name="connsiteY6" fmla="*/ 6856143 h 6856143"/>
              <a:gd name="connsiteX7" fmla="*/ 0 w 12191999"/>
              <a:gd name="connsiteY7" fmla="*/ 6597351 h 6856143"/>
              <a:gd name="connsiteX8" fmla="*/ 0 w 12191999"/>
              <a:gd name="connsiteY8" fmla="*/ 0 h 6856143"/>
              <a:gd name="connsiteX0" fmla="*/ 8627 w 12200626"/>
              <a:gd name="connsiteY0" fmla="*/ 0 h 6864770"/>
              <a:gd name="connsiteX1" fmla="*/ 10499621 w 12200626"/>
              <a:gd name="connsiteY1" fmla="*/ 0 h 6864770"/>
              <a:gd name="connsiteX2" fmla="*/ 10497240 w 12200626"/>
              <a:gd name="connsiteY2" fmla="*/ 1143000 h 6864770"/>
              <a:gd name="connsiteX3" fmla="*/ 11649765 w 12200626"/>
              <a:gd name="connsiteY3" fmla="*/ 1143000 h 6864770"/>
              <a:gd name="connsiteX4" fmla="*/ 11649765 w 12200626"/>
              <a:gd name="connsiteY4" fmla="*/ 0 h 6864770"/>
              <a:gd name="connsiteX5" fmla="*/ 12200626 w 12200626"/>
              <a:gd name="connsiteY5" fmla="*/ 0 h 6864770"/>
              <a:gd name="connsiteX6" fmla="*/ 12200626 w 12200626"/>
              <a:gd name="connsiteY6" fmla="*/ 6856143 h 6864770"/>
              <a:gd name="connsiteX7" fmla="*/ 0 w 12200626"/>
              <a:gd name="connsiteY7" fmla="*/ 6864770 h 6864770"/>
              <a:gd name="connsiteX8" fmla="*/ 8627 w 12200626"/>
              <a:gd name="connsiteY8" fmla="*/ 0 h 6864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00626" h="6864770">
                <a:moveTo>
                  <a:pt x="8627" y="0"/>
                </a:moveTo>
                <a:lnTo>
                  <a:pt x="10499621" y="0"/>
                </a:lnTo>
                <a:cubicBezTo>
                  <a:pt x="10498827" y="381000"/>
                  <a:pt x="10498034" y="762000"/>
                  <a:pt x="10497240" y="1143000"/>
                </a:cubicBezTo>
                <a:lnTo>
                  <a:pt x="11649765" y="1143000"/>
                </a:lnTo>
                <a:lnTo>
                  <a:pt x="11649765" y="0"/>
                </a:lnTo>
                <a:lnTo>
                  <a:pt x="12200626" y="0"/>
                </a:lnTo>
                <a:lnTo>
                  <a:pt x="12200626" y="6856143"/>
                </a:lnTo>
                <a:lnTo>
                  <a:pt x="0" y="6864770"/>
                </a:lnTo>
                <a:cubicBezTo>
                  <a:pt x="2876" y="4576513"/>
                  <a:pt x="5751" y="2288257"/>
                  <a:pt x="8627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</a:t>
            </a:r>
            <a:br>
              <a:rPr lang="de-DE"/>
            </a:br>
            <a:r>
              <a:rPr lang="de-DE"/>
              <a:t>Klicken</a:t>
            </a:r>
            <a:br>
              <a:rPr lang="de-DE"/>
            </a:br>
            <a:r>
              <a:rPr lang="de-DE"/>
              <a:t> auf Symbol </a:t>
            </a:r>
            <a:br>
              <a:rPr lang="de-DE"/>
            </a:br>
            <a:r>
              <a:rPr lang="de-DE"/>
              <a:t>hinzufügen</a:t>
            </a:r>
          </a:p>
        </p:txBody>
      </p:sp>
      <p:sp>
        <p:nvSpPr>
          <p:cNvPr id="12" name="CS Action title Placeholder"/>
          <p:cNvSpPr>
            <a:spLocks noGrp="1"/>
          </p:cNvSpPr>
          <p:nvPr>
            <p:ph type="title" hasCustomPrompt="1"/>
          </p:nvPr>
        </p:nvSpPr>
        <p:spPr>
          <a:xfrm>
            <a:off x="550800" y="3790800"/>
            <a:ext cx="6624000" cy="1980000"/>
          </a:xfr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lIns="288000" tIns="180000" rIns="216000" bIns="180000"/>
          <a:lstStyle>
            <a:lvl1pPr>
              <a:defRPr/>
            </a:lvl1pPr>
          </a:lstStyle>
          <a:p>
            <a:r>
              <a:rPr lang="de-DE"/>
              <a:t>Titelmasterformat durch Klicken bearbeiten.</a:t>
            </a:r>
          </a:p>
        </p:txBody>
      </p:sp>
      <p:pic>
        <p:nvPicPr>
          <p:cNvPr id="5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4" y="0"/>
            <a:ext cx="1152524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79402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II (Variable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S Picture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-8628" y="1"/>
            <a:ext cx="12200626" cy="6864770"/>
          </a:xfrm>
          <a:custGeom>
            <a:avLst/>
            <a:gdLst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856143"/>
              <a:gd name="connsiteX1" fmla="*/ 10490994 w 12191999"/>
              <a:gd name="connsiteY1" fmla="*/ 0 h 6856143"/>
              <a:gd name="connsiteX2" fmla="*/ 10488613 w 12191999"/>
              <a:gd name="connsiteY2" fmla="*/ 1143000 h 6856143"/>
              <a:gd name="connsiteX3" fmla="*/ 11641138 w 12191999"/>
              <a:gd name="connsiteY3" fmla="*/ 1143000 h 6856143"/>
              <a:gd name="connsiteX4" fmla="*/ 11641138 w 12191999"/>
              <a:gd name="connsiteY4" fmla="*/ 0 h 6856143"/>
              <a:gd name="connsiteX5" fmla="*/ 12191999 w 12191999"/>
              <a:gd name="connsiteY5" fmla="*/ 0 h 6856143"/>
              <a:gd name="connsiteX6" fmla="*/ 12191999 w 12191999"/>
              <a:gd name="connsiteY6" fmla="*/ 6856143 h 6856143"/>
              <a:gd name="connsiteX7" fmla="*/ 0 w 12191999"/>
              <a:gd name="connsiteY7" fmla="*/ 6597351 h 6856143"/>
              <a:gd name="connsiteX8" fmla="*/ 0 w 12191999"/>
              <a:gd name="connsiteY8" fmla="*/ 0 h 6856143"/>
              <a:gd name="connsiteX0" fmla="*/ 8627 w 12200626"/>
              <a:gd name="connsiteY0" fmla="*/ 0 h 6864770"/>
              <a:gd name="connsiteX1" fmla="*/ 10499621 w 12200626"/>
              <a:gd name="connsiteY1" fmla="*/ 0 h 6864770"/>
              <a:gd name="connsiteX2" fmla="*/ 10497240 w 12200626"/>
              <a:gd name="connsiteY2" fmla="*/ 1143000 h 6864770"/>
              <a:gd name="connsiteX3" fmla="*/ 11649765 w 12200626"/>
              <a:gd name="connsiteY3" fmla="*/ 1143000 h 6864770"/>
              <a:gd name="connsiteX4" fmla="*/ 11649765 w 12200626"/>
              <a:gd name="connsiteY4" fmla="*/ 0 h 6864770"/>
              <a:gd name="connsiteX5" fmla="*/ 12200626 w 12200626"/>
              <a:gd name="connsiteY5" fmla="*/ 0 h 6864770"/>
              <a:gd name="connsiteX6" fmla="*/ 12200626 w 12200626"/>
              <a:gd name="connsiteY6" fmla="*/ 6856143 h 6864770"/>
              <a:gd name="connsiteX7" fmla="*/ 0 w 12200626"/>
              <a:gd name="connsiteY7" fmla="*/ 6864770 h 6864770"/>
              <a:gd name="connsiteX8" fmla="*/ 8627 w 12200626"/>
              <a:gd name="connsiteY8" fmla="*/ 0 h 6864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00626" h="6864770">
                <a:moveTo>
                  <a:pt x="8627" y="0"/>
                </a:moveTo>
                <a:lnTo>
                  <a:pt x="10499621" y="0"/>
                </a:lnTo>
                <a:cubicBezTo>
                  <a:pt x="10498827" y="381000"/>
                  <a:pt x="10498034" y="762000"/>
                  <a:pt x="10497240" y="1143000"/>
                </a:cubicBezTo>
                <a:lnTo>
                  <a:pt x="11649765" y="1143000"/>
                </a:lnTo>
                <a:lnTo>
                  <a:pt x="11649765" y="0"/>
                </a:lnTo>
                <a:lnTo>
                  <a:pt x="12200626" y="0"/>
                </a:lnTo>
                <a:lnTo>
                  <a:pt x="12200626" y="6856143"/>
                </a:lnTo>
                <a:lnTo>
                  <a:pt x="0" y="6864770"/>
                </a:lnTo>
                <a:cubicBezTo>
                  <a:pt x="2876" y="4576513"/>
                  <a:pt x="5751" y="2288257"/>
                  <a:pt x="8627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</a:t>
            </a:r>
            <a:br>
              <a:rPr lang="de-DE"/>
            </a:br>
            <a:r>
              <a:rPr lang="de-DE"/>
              <a:t>Klicken</a:t>
            </a:r>
            <a:br>
              <a:rPr lang="de-DE"/>
            </a:br>
            <a:r>
              <a:rPr lang="de-DE"/>
              <a:t> auf Symbol </a:t>
            </a:r>
            <a:br>
              <a:rPr lang="de-DE"/>
            </a:br>
            <a:r>
              <a:rPr lang="de-DE"/>
              <a:t>hinzufügen</a:t>
            </a:r>
          </a:p>
        </p:txBody>
      </p:sp>
      <p:sp>
        <p:nvSpPr>
          <p:cNvPr id="6" name="CS Action title Placeholder"/>
          <p:cNvSpPr>
            <a:spLocks noGrp="1"/>
          </p:cNvSpPr>
          <p:nvPr>
            <p:ph type="title" hasCustomPrompt="1"/>
          </p:nvPr>
        </p:nvSpPr>
        <p:spPr>
          <a:xfrm>
            <a:off x="550800" y="3790801"/>
            <a:ext cx="4591652" cy="1214663"/>
          </a:xfr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lIns="180000" tIns="144000" rIns="216000" bIns="180000" anchor="ctr" anchorCtr="0"/>
          <a:lstStyle>
            <a:lvl1pPr>
              <a:defRPr b="0"/>
            </a:lvl1pPr>
          </a:lstStyle>
          <a:p>
            <a:r>
              <a:rPr lang="de-DE"/>
              <a:t>Titelmasterformat durch Klicken bearbeiten.</a:t>
            </a:r>
          </a:p>
        </p:txBody>
      </p:sp>
      <p:pic>
        <p:nvPicPr>
          <p:cNvPr id="7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4" y="0"/>
            <a:ext cx="1152524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7854187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S Action title Placeholder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.</a:t>
            </a:r>
          </a:p>
        </p:txBody>
      </p:sp>
      <p:sp>
        <p:nvSpPr>
          <p:cNvPr id="3" name="CS Body text Placeholder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5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4" y="0"/>
            <a:ext cx="1152524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115876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Variable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10801" y="-4764"/>
            <a:ext cx="12181200" cy="6862763"/>
          </a:xfrm>
          <a:custGeom>
            <a:avLst/>
            <a:gdLst>
              <a:gd name="connsiteX0" fmla="*/ 0 w 12181200"/>
              <a:gd name="connsiteY0" fmla="*/ 0 h 6597351"/>
              <a:gd name="connsiteX1" fmla="*/ 12181200 w 12181200"/>
              <a:gd name="connsiteY1" fmla="*/ 0 h 6597351"/>
              <a:gd name="connsiteX2" fmla="*/ 12181200 w 12181200"/>
              <a:gd name="connsiteY2" fmla="*/ 6597351 h 6597351"/>
              <a:gd name="connsiteX3" fmla="*/ 0 w 12181200"/>
              <a:gd name="connsiteY3" fmla="*/ 6597351 h 6597351"/>
              <a:gd name="connsiteX4" fmla="*/ 0 w 12181200"/>
              <a:gd name="connsiteY4" fmla="*/ 0 h 6597351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2181200 w 12181200"/>
              <a:gd name="connsiteY2" fmla="*/ 4763 h 6602114"/>
              <a:gd name="connsiteX3" fmla="*/ 12181200 w 12181200"/>
              <a:gd name="connsiteY3" fmla="*/ 6602114 h 6602114"/>
              <a:gd name="connsiteX4" fmla="*/ 0 w 12181200"/>
              <a:gd name="connsiteY4" fmla="*/ 6602114 h 6602114"/>
              <a:gd name="connsiteX5" fmla="*/ 0 w 12181200"/>
              <a:gd name="connsiteY5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406500 w 12181200"/>
              <a:gd name="connsiteY2" fmla="*/ 4763 h 6602114"/>
              <a:gd name="connsiteX3" fmla="*/ 12181200 w 12181200"/>
              <a:gd name="connsiteY3" fmla="*/ 4763 h 6602114"/>
              <a:gd name="connsiteX4" fmla="*/ 12181200 w 12181200"/>
              <a:gd name="connsiteY4" fmla="*/ 6602114 h 6602114"/>
              <a:gd name="connsiteX5" fmla="*/ 0 w 12181200"/>
              <a:gd name="connsiteY5" fmla="*/ 6602114 h 6602114"/>
              <a:gd name="connsiteX6" fmla="*/ 0 w 12181200"/>
              <a:gd name="connsiteY6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022325 w 12181200"/>
              <a:gd name="connsiteY2" fmla="*/ 4763 h 6602114"/>
              <a:gd name="connsiteX3" fmla="*/ 11406500 w 12181200"/>
              <a:gd name="connsiteY3" fmla="*/ 4763 h 6602114"/>
              <a:gd name="connsiteX4" fmla="*/ 12181200 w 12181200"/>
              <a:gd name="connsiteY4" fmla="*/ 4763 h 6602114"/>
              <a:gd name="connsiteX5" fmla="*/ 12181200 w 12181200"/>
              <a:gd name="connsiteY5" fmla="*/ 6602114 h 6602114"/>
              <a:gd name="connsiteX6" fmla="*/ 0 w 12181200"/>
              <a:gd name="connsiteY6" fmla="*/ 6602114 h 6602114"/>
              <a:gd name="connsiteX7" fmla="*/ 0 w 12181200"/>
              <a:gd name="connsiteY7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022325 w 12181200"/>
              <a:gd name="connsiteY2" fmla="*/ 4763 h 6602114"/>
              <a:gd name="connsiteX3" fmla="*/ 11216000 w 12181200"/>
              <a:gd name="connsiteY3" fmla="*/ 1588 h 6602114"/>
              <a:gd name="connsiteX4" fmla="*/ 11406500 w 12181200"/>
              <a:gd name="connsiteY4" fmla="*/ 4763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022325 w 12181200"/>
              <a:gd name="connsiteY2" fmla="*/ 4763 h 6602114"/>
              <a:gd name="connsiteX3" fmla="*/ 11212825 w 12181200"/>
              <a:gd name="connsiteY3" fmla="*/ 1154113 h 6602114"/>
              <a:gd name="connsiteX4" fmla="*/ 11406500 w 12181200"/>
              <a:gd name="connsiteY4" fmla="*/ 4763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022325 w 12181200"/>
              <a:gd name="connsiteY2" fmla="*/ 4763 h 6602114"/>
              <a:gd name="connsiteX3" fmla="*/ 11212825 w 12181200"/>
              <a:gd name="connsiteY3" fmla="*/ 1154113 h 6602114"/>
              <a:gd name="connsiteX4" fmla="*/ 11628750 w 12181200"/>
              <a:gd name="connsiteY4" fmla="*/ 1588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022325 w 12181200"/>
              <a:gd name="connsiteY2" fmla="*/ 4763 h 6602114"/>
              <a:gd name="connsiteX3" fmla="*/ 11631925 w 12181200"/>
              <a:gd name="connsiteY3" fmla="*/ 1157288 h 6602114"/>
              <a:gd name="connsiteX4" fmla="*/ 11628750 w 12181200"/>
              <a:gd name="connsiteY4" fmla="*/ 1588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487338 w 12181200"/>
              <a:gd name="connsiteY1" fmla="*/ 0 h 6602114"/>
              <a:gd name="connsiteX2" fmla="*/ 11022325 w 12181200"/>
              <a:gd name="connsiteY2" fmla="*/ 4763 h 6602114"/>
              <a:gd name="connsiteX3" fmla="*/ 11631925 w 12181200"/>
              <a:gd name="connsiteY3" fmla="*/ 1157288 h 6602114"/>
              <a:gd name="connsiteX4" fmla="*/ 11628750 w 12181200"/>
              <a:gd name="connsiteY4" fmla="*/ 1588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487338 w 12181200"/>
              <a:gd name="connsiteY1" fmla="*/ 0 h 6602114"/>
              <a:gd name="connsiteX2" fmla="*/ 10482575 w 12181200"/>
              <a:gd name="connsiteY2" fmla="*/ 1144588 h 6602114"/>
              <a:gd name="connsiteX3" fmla="*/ 11631925 w 12181200"/>
              <a:gd name="connsiteY3" fmla="*/ 1157288 h 6602114"/>
              <a:gd name="connsiteX4" fmla="*/ 11628750 w 12181200"/>
              <a:gd name="connsiteY4" fmla="*/ 1588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487338 w 12181200"/>
              <a:gd name="connsiteY1" fmla="*/ 0 h 6602114"/>
              <a:gd name="connsiteX2" fmla="*/ 10482575 w 12181200"/>
              <a:gd name="connsiteY2" fmla="*/ 1144588 h 6602114"/>
              <a:gd name="connsiteX3" fmla="*/ 11631925 w 12181200"/>
              <a:gd name="connsiteY3" fmla="*/ 1144588 h 6602114"/>
              <a:gd name="connsiteX4" fmla="*/ 11628750 w 12181200"/>
              <a:gd name="connsiteY4" fmla="*/ 1588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81200" h="6602114">
                <a:moveTo>
                  <a:pt x="0" y="4763"/>
                </a:moveTo>
                <a:lnTo>
                  <a:pt x="10487338" y="0"/>
                </a:lnTo>
                <a:cubicBezTo>
                  <a:pt x="10485750" y="381529"/>
                  <a:pt x="10484163" y="763059"/>
                  <a:pt x="10482575" y="1144588"/>
                </a:cubicBezTo>
                <a:lnTo>
                  <a:pt x="11631925" y="1144588"/>
                </a:lnTo>
                <a:cubicBezTo>
                  <a:pt x="11630867" y="759355"/>
                  <a:pt x="11629808" y="386821"/>
                  <a:pt x="11628750" y="1588"/>
                </a:cubicBezTo>
                <a:lnTo>
                  <a:pt x="12181200" y="4763"/>
                </a:lnTo>
                <a:lnTo>
                  <a:pt x="12181200" y="6602114"/>
                </a:lnTo>
                <a:lnTo>
                  <a:pt x="0" y="6602114"/>
                </a:lnTo>
                <a:lnTo>
                  <a:pt x="0" y="4763"/>
                </a:lnTo>
                <a:close/>
              </a:path>
            </a:pathLst>
          </a:custGeom>
          <a:solidFill>
            <a:srgbClr val="FFFFFF">
              <a:alpha val="69804"/>
            </a:srgbClr>
          </a:solidFill>
        </p:spPr>
        <p:txBody>
          <a:bodyPr anchor="b" anchorCtr="0"/>
          <a:lstStyle>
            <a:lvl1pPr marL="0" indent="0" algn="ctr">
              <a:buNone/>
              <a:defRPr/>
            </a:lvl1pPr>
            <a:lvl2pPr marL="182564" indent="0">
              <a:buNone/>
              <a:defRPr/>
            </a:lvl2pPr>
            <a:lvl3pPr marL="406405" indent="0">
              <a:buNone/>
              <a:defRPr/>
            </a:lvl3pPr>
            <a:lvl4pPr marL="630245" indent="0">
              <a:buNone/>
              <a:defRPr/>
            </a:lvl4pPr>
            <a:lvl5pPr marL="863611" indent="0">
              <a:buNone/>
              <a:defRPr/>
            </a:lvl5pPr>
          </a:lstStyle>
          <a:p>
            <a:pPr lvl="0"/>
            <a:r>
              <a:rPr lang="de-DE"/>
              <a:t>White Layer</a:t>
            </a:r>
          </a:p>
        </p:txBody>
      </p:sp>
      <p:sp>
        <p:nvSpPr>
          <p:cNvPr id="13" name="CS Picture"/>
          <p:cNvSpPr>
            <a:spLocks noGrp="1"/>
          </p:cNvSpPr>
          <p:nvPr>
            <p:ph type="pic" sz="quarter" idx="14"/>
          </p:nvPr>
        </p:nvSpPr>
        <p:spPr bwMode="gray">
          <a:xfrm>
            <a:off x="3" y="-30479"/>
            <a:ext cx="12191998" cy="6876000"/>
          </a:xfrm>
          <a:custGeom>
            <a:avLst/>
            <a:gdLst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1999" h="6597351">
                <a:moveTo>
                  <a:pt x="0" y="0"/>
                </a:moveTo>
                <a:lnTo>
                  <a:pt x="10490994" y="0"/>
                </a:lnTo>
                <a:cubicBezTo>
                  <a:pt x="10490200" y="381000"/>
                  <a:pt x="10489407" y="762000"/>
                  <a:pt x="10488613" y="1143000"/>
                </a:cubicBezTo>
                <a:lnTo>
                  <a:pt x="11641138" y="1143000"/>
                </a:lnTo>
                <a:lnTo>
                  <a:pt x="11641138" y="0"/>
                </a:lnTo>
                <a:lnTo>
                  <a:pt x="12191999" y="0"/>
                </a:lnTo>
                <a:lnTo>
                  <a:pt x="12191999" y="6597351"/>
                </a:lnTo>
                <a:lnTo>
                  <a:pt x="0" y="6597351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non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5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4" y="0"/>
            <a:ext cx="1152524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S Body text Placeholder"/>
          <p:cNvSpPr>
            <a:spLocks noGrp="1"/>
          </p:cNvSpPr>
          <p:nvPr>
            <p:ph idx="1"/>
          </p:nvPr>
        </p:nvSpPr>
        <p:spPr>
          <a:xfrm>
            <a:off x="550803" y="1728000"/>
            <a:ext cx="8282050" cy="4500000"/>
          </a:xfrm>
        </p:spPr>
        <p:txBody>
          <a:bodyPr>
            <a:no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CS Action title Placeholder"/>
          <p:cNvSpPr>
            <a:spLocks noGrp="1"/>
          </p:cNvSpPr>
          <p:nvPr>
            <p:ph type="title" hasCustomPrompt="1"/>
          </p:nvPr>
        </p:nvSpPr>
        <p:spPr>
          <a:solidFill>
            <a:srgbClr val="FFFFFF"/>
          </a:solidFill>
          <a:effectLst>
            <a:glow rad="63500">
              <a:schemeClr val="accent3">
                <a:satMod val="175000"/>
                <a:alpha val="20000"/>
              </a:schemeClr>
            </a:glow>
          </a:effectLst>
        </p:spPr>
        <p:txBody>
          <a:bodyPr lIns="180000" tIns="54000" rIns="180000"/>
          <a:lstStyle>
            <a:lvl1pPr>
              <a:defRPr/>
            </a:lvl1pPr>
          </a:lstStyle>
          <a:p>
            <a:r>
              <a:rPr lang="de-DE"/>
              <a:t>Titelmasterformat durch Klicken bearbeiten.</a:t>
            </a:r>
          </a:p>
        </p:txBody>
      </p:sp>
    </p:spTree>
    <p:extLst>
      <p:ext uri="{BB962C8B-B14F-4D97-AF65-F5344CB8AC3E}">
        <p14:creationId xmlns:p14="http://schemas.microsoft.com/office/powerpoint/2010/main" val="41749461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4" y="0"/>
            <a:ext cx="1152524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044830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S Action title Placeholder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.</a:t>
            </a:r>
          </a:p>
        </p:txBody>
      </p:sp>
    </p:spTree>
    <p:extLst>
      <p:ext uri="{BB962C8B-B14F-4D97-AF65-F5344CB8AC3E}">
        <p14:creationId xmlns:p14="http://schemas.microsoft.com/office/powerpoint/2010/main" val="28964719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BCC9DA-880F-ED88-C1EA-3930E3CB2C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175C36-FE46-6A1F-2760-EB7C4D65914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B48F7DA-E177-37F4-421A-83A4837430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11.08.2022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63853E-8AA9-CAAC-EA22-BE5FA6543A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A43EAE-C900-DE0E-57BD-39F317C37B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623504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CS Worldwide">
            <a:extLst>
              <a:ext uri="{FF2B5EF4-FFF2-40B4-BE49-F238E27FC236}">
                <a16:creationId xmlns:a16="http://schemas.microsoft.com/office/drawing/2014/main" id="{E7AAAD39-EBEE-44FB-B151-0D92D5040958}"/>
              </a:ext>
            </a:extLst>
          </p:cNvPr>
          <p:cNvPicPr>
            <a:picLocks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96" b="3750"/>
          <a:stretch/>
        </p:blipFill>
        <p:spPr>
          <a:xfrm>
            <a:off x="0" y="-1"/>
            <a:ext cx="12192000" cy="6876000"/>
          </a:xfrm>
          <a:prstGeom prst="rect">
            <a:avLst/>
          </a:prstGeom>
        </p:spPr>
      </p:pic>
      <p:sp>
        <p:nvSpPr>
          <p:cNvPr id="12" name="CS Thank You"/>
          <p:cNvSpPr>
            <a:spLocks noGrp="1"/>
          </p:cNvSpPr>
          <p:nvPr>
            <p:ph type="title" hasCustomPrompt="1"/>
          </p:nvPr>
        </p:nvSpPr>
        <p:spPr>
          <a:xfrm>
            <a:off x="550800" y="3502800"/>
            <a:ext cx="4716000" cy="2592000"/>
          </a:xfr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lIns="288000" tIns="180000" rIns="216000" bIns="180000"/>
          <a:lstStyle>
            <a:lvl1pPr>
              <a:defRPr baseline="0"/>
            </a:lvl1pPr>
          </a:lstStyle>
          <a:p>
            <a:r>
              <a:rPr lang="de-DE" err="1"/>
              <a:t>Thank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!</a:t>
            </a:r>
          </a:p>
        </p:txBody>
      </p:sp>
      <p:pic>
        <p:nvPicPr>
          <p:cNvPr id="10" name="CS 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4" y="0"/>
            <a:ext cx="1152524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CS Contact"/>
          <p:cNvSpPr>
            <a:spLocks noGrp="1"/>
          </p:cNvSpPr>
          <p:nvPr>
            <p:ph type="body" sz="quarter" idx="13"/>
          </p:nvPr>
        </p:nvSpPr>
        <p:spPr>
          <a:xfrm>
            <a:off x="838800" y="4474800"/>
            <a:ext cx="4284000" cy="1440000"/>
          </a:xfrm>
        </p:spPr>
        <p:txBody>
          <a:bodyPr anchor="b">
            <a:noAutofit/>
          </a:bodyPr>
          <a:lstStyle>
            <a:lvl1pPr marL="0" indent="0">
              <a:lnSpc>
                <a:spcPct val="120000"/>
              </a:lnSpc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pic>
        <p:nvPicPr>
          <p:cNvPr id="13" name="CS 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4" y="-27"/>
            <a:ext cx="1152524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C35E120A-47E6-49E9-830B-46E8296FA7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32557" t="34037" r="59204" b="62939"/>
          <a:stretch/>
        </p:blipFill>
        <p:spPr>
          <a:xfrm>
            <a:off x="3651160" y="2424825"/>
            <a:ext cx="1036951" cy="206061"/>
          </a:xfrm>
          <a:prstGeom prst="rect">
            <a:avLst/>
          </a:prstGeom>
        </p:spPr>
      </p:pic>
      <p:pic>
        <p:nvPicPr>
          <p:cNvPr id="14" name="CS Logo">
            <a:extLst>
              <a:ext uri="{FF2B5EF4-FFF2-40B4-BE49-F238E27FC236}">
                <a16:creationId xmlns:a16="http://schemas.microsoft.com/office/drawing/2014/main" id="{C5BB9984-3422-4A77-8CC9-FB239C59726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4" y="-54"/>
            <a:ext cx="1152524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4076825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Variable Pictur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/>
          <p:cNvSpPr>
            <a:spLocks noGrp="1"/>
          </p:cNvSpPr>
          <p:nvPr>
            <p:ph type="pic" sz="quarter" idx="14"/>
          </p:nvPr>
        </p:nvSpPr>
        <p:spPr>
          <a:xfrm>
            <a:off x="-6559" y="-864"/>
            <a:ext cx="12198454" cy="6873623"/>
          </a:xfrm>
          <a:custGeom>
            <a:avLst/>
            <a:gdLst>
              <a:gd name="connsiteX0" fmla="*/ 0 w 5426179"/>
              <a:gd name="connsiteY0" fmla="*/ 0 h 3828004"/>
              <a:gd name="connsiteX1" fmla="*/ 5426179 w 5426179"/>
              <a:gd name="connsiteY1" fmla="*/ 0 h 3828004"/>
              <a:gd name="connsiteX2" fmla="*/ 5426179 w 5426179"/>
              <a:gd name="connsiteY2" fmla="*/ 3828004 h 3828004"/>
              <a:gd name="connsiteX3" fmla="*/ 0 w 5426179"/>
              <a:gd name="connsiteY3" fmla="*/ 3828004 h 3828004"/>
              <a:gd name="connsiteX4" fmla="*/ 0 w 5426179"/>
              <a:gd name="connsiteY4" fmla="*/ 0 h 3828004"/>
              <a:gd name="connsiteX5" fmla="*/ 478501 w 5426179"/>
              <a:gd name="connsiteY5" fmla="*/ 478501 h 3828004"/>
              <a:gd name="connsiteX6" fmla="*/ 478501 w 5426179"/>
              <a:gd name="connsiteY6" fmla="*/ 3349504 h 3828004"/>
              <a:gd name="connsiteX7" fmla="*/ 4947679 w 5426179"/>
              <a:gd name="connsiteY7" fmla="*/ 3349504 h 3828004"/>
              <a:gd name="connsiteX8" fmla="*/ 4947679 w 5426179"/>
              <a:gd name="connsiteY8" fmla="*/ 478501 h 3828004"/>
              <a:gd name="connsiteX9" fmla="*/ 478501 w 5426179"/>
              <a:gd name="connsiteY9" fmla="*/ 478501 h 3828004"/>
              <a:gd name="connsiteX0" fmla="*/ 0 w 7512154"/>
              <a:gd name="connsiteY0" fmla="*/ 0 h 5571079"/>
              <a:gd name="connsiteX1" fmla="*/ 7512154 w 7512154"/>
              <a:gd name="connsiteY1" fmla="*/ 1743075 h 5571079"/>
              <a:gd name="connsiteX2" fmla="*/ 7512154 w 7512154"/>
              <a:gd name="connsiteY2" fmla="*/ 5571079 h 5571079"/>
              <a:gd name="connsiteX3" fmla="*/ 2085975 w 7512154"/>
              <a:gd name="connsiteY3" fmla="*/ 5571079 h 5571079"/>
              <a:gd name="connsiteX4" fmla="*/ 0 w 7512154"/>
              <a:gd name="connsiteY4" fmla="*/ 0 h 5571079"/>
              <a:gd name="connsiteX5" fmla="*/ 2564476 w 7512154"/>
              <a:gd name="connsiteY5" fmla="*/ 2221576 h 5571079"/>
              <a:gd name="connsiteX6" fmla="*/ 2564476 w 7512154"/>
              <a:gd name="connsiteY6" fmla="*/ 5092579 h 5571079"/>
              <a:gd name="connsiteX7" fmla="*/ 7033654 w 7512154"/>
              <a:gd name="connsiteY7" fmla="*/ 5092579 h 5571079"/>
              <a:gd name="connsiteX8" fmla="*/ 7033654 w 7512154"/>
              <a:gd name="connsiteY8" fmla="*/ 2221576 h 5571079"/>
              <a:gd name="connsiteX9" fmla="*/ 2564476 w 7512154"/>
              <a:gd name="connsiteY9" fmla="*/ 2221576 h 5571079"/>
              <a:gd name="connsiteX0" fmla="*/ 0 w 12227029"/>
              <a:gd name="connsiteY0" fmla="*/ 9525 h 5580604"/>
              <a:gd name="connsiteX1" fmla="*/ 12227029 w 12227029"/>
              <a:gd name="connsiteY1" fmla="*/ 0 h 5580604"/>
              <a:gd name="connsiteX2" fmla="*/ 7512154 w 12227029"/>
              <a:gd name="connsiteY2" fmla="*/ 5580604 h 5580604"/>
              <a:gd name="connsiteX3" fmla="*/ 2085975 w 12227029"/>
              <a:gd name="connsiteY3" fmla="*/ 5580604 h 5580604"/>
              <a:gd name="connsiteX4" fmla="*/ 0 w 12227029"/>
              <a:gd name="connsiteY4" fmla="*/ 9525 h 5580604"/>
              <a:gd name="connsiteX5" fmla="*/ 2564476 w 12227029"/>
              <a:gd name="connsiteY5" fmla="*/ 2231101 h 5580604"/>
              <a:gd name="connsiteX6" fmla="*/ 2564476 w 12227029"/>
              <a:gd name="connsiteY6" fmla="*/ 5102104 h 5580604"/>
              <a:gd name="connsiteX7" fmla="*/ 7033654 w 12227029"/>
              <a:gd name="connsiteY7" fmla="*/ 5102104 h 5580604"/>
              <a:gd name="connsiteX8" fmla="*/ 7033654 w 12227029"/>
              <a:gd name="connsiteY8" fmla="*/ 2231101 h 5580604"/>
              <a:gd name="connsiteX9" fmla="*/ 2564476 w 12227029"/>
              <a:gd name="connsiteY9" fmla="*/ 2231101 h 5580604"/>
              <a:gd name="connsiteX0" fmla="*/ 0 w 12227029"/>
              <a:gd name="connsiteY0" fmla="*/ 9525 h 6847429"/>
              <a:gd name="connsiteX1" fmla="*/ 12227029 w 12227029"/>
              <a:gd name="connsiteY1" fmla="*/ 0 h 6847429"/>
              <a:gd name="connsiteX2" fmla="*/ 12207979 w 12227029"/>
              <a:gd name="connsiteY2" fmla="*/ 6847429 h 6847429"/>
              <a:gd name="connsiteX3" fmla="*/ 2085975 w 12227029"/>
              <a:gd name="connsiteY3" fmla="*/ 5580604 h 6847429"/>
              <a:gd name="connsiteX4" fmla="*/ 0 w 12227029"/>
              <a:gd name="connsiteY4" fmla="*/ 9525 h 6847429"/>
              <a:gd name="connsiteX5" fmla="*/ 2564476 w 12227029"/>
              <a:gd name="connsiteY5" fmla="*/ 2231101 h 6847429"/>
              <a:gd name="connsiteX6" fmla="*/ 2564476 w 12227029"/>
              <a:gd name="connsiteY6" fmla="*/ 5102104 h 6847429"/>
              <a:gd name="connsiteX7" fmla="*/ 7033654 w 12227029"/>
              <a:gd name="connsiteY7" fmla="*/ 5102104 h 6847429"/>
              <a:gd name="connsiteX8" fmla="*/ 7033654 w 12227029"/>
              <a:gd name="connsiteY8" fmla="*/ 2231101 h 6847429"/>
              <a:gd name="connsiteX9" fmla="*/ 2564476 w 12227029"/>
              <a:gd name="connsiteY9" fmla="*/ 2231101 h 6847429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2564476 w 12227029"/>
              <a:gd name="connsiteY5" fmla="*/ 2231101 h 6856954"/>
              <a:gd name="connsiteX6" fmla="*/ 2564476 w 12227029"/>
              <a:gd name="connsiteY6" fmla="*/ 5102104 h 6856954"/>
              <a:gd name="connsiteX7" fmla="*/ 7033654 w 12227029"/>
              <a:gd name="connsiteY7" fmla="*/ 5102104 h 6856954"/>
              <a:gd name="connsiteX8" fmla="*/ 7033654 w 12227029"/>
              <a:gd name="connsiteY8" fmla="*/ 2231101 h 6856954"/>
              <a:gd name="connsiteX9" fmla="*/ 2564476 w 12227029"/>
              <a:gd name="connsiteY9" fmla="*/ 2231101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2564476 w 12227029"/>
              <a:gd name="connsiteY5" fmla="*/ 2231101 h 6856954"/>
              <a:gd name="connsiteX6" fmla="*/ 2564476 w 12227029"/>
              <a:gd name="connsiteY6" fmla="*/ 5102104 h 6856954"/>
              <a:gd name="connsiteX7" fmla="*/ 7033654 w 12227029"/>
              <a:gd name="connsiteY7" fmla="*/ 5102104 h 6856954"/>
              <a:gd name="connsiteX8" fmla="*/ 7090804 w 12227029"/>
              <a:gd name="connsiteY8" fmla="*/ 1097626 h 6856954"/>
              <a:gd name="connsiteX9" fmla="*/ 2564476 w 12227029"/>
              <a:gd name="connsiteY9" fmla="*/ 2231101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2564476 w 12227029"/>
              <a:gd name="connsiteY5" fmla="*/ 2231101 h 6856954"/>
              <a:gd name="connsiteX6" fmla="*/ 2564476 w 12227029"/>
              <a:gd name="connsiteY6" fmla="*/ 5102104 h 6856954"/>
              <a:gd name="connsiteX7" fmla="*/ 7100329 w 12227029"/>
              <a:gd name="connsiteY7" fmla="*/ 2235079 h 6856954"/>
              <a:gd name="connsiteX8" fmla="*/ 7090804 w 12227029"/>
              <a:gd name="connsiteY8" fmla="*/ 1097626 h 6856954"/>
              <a:gd name="connsiteX9" fmla="*/ 2564476 w 12227029"/>
              <a:gd name="connsiteY9" fmla="*/ 2231101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6003001 w 12227029"/>
              <a:gd name="connsiteY5" fmla="*/ 1116676 h 6856954"/>
              <a:gd name="connsiteX6" fmla="*/ 2564476 w 12227029"/>
              <a:gd name="connsiteY6" fmla="*/ 5102104 h 6856954"/>
              <a:gd name="connsiteX7" fmla="*/ 7100329 w 12227029"/>
              <a:gd name="connsiteY7" fmla="*/ 2235079 h 6856954"/>
              <a:gd name="connsiteX8" fmla="*/ 7090804 w 12227029"/>
              <a:gd name="connsiteY8" fmla="*/ 1097626 h 6856954"/>
              <a:gd name="connsiteX9" fmla="*/ 6003001 w 12227029"/>
              <a:gd name="connsiteY9" fmla="*/ 1116676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6003001 w 12227029"/>
              <a:gd name="connsiteY5" fmla="*/ 1116676 h 6856954"/>
              <a:gd name="connsiteX6" fmla="*/ 5964901 w 12227029"/>
              <a:gd name="connsiteY6" fmla="*/ 2263654 h 6856954"/>
              <a:gd name="connsiteX7" fmla="*/ 7100329 w 12227029"/>
              <a:gd name="connsiteY7" fmla="*/ 2235079 h 6856954"/>
              <a:gd name="connsiteX8" fmla="*/ 7090804 w 12227029"/>
              <a:gd name="connsiteY8" fmla="*/ 1097626 h 6856954"/>
              <a:gd name="connsiteX9" fmla="*/ 6003001 w 12227029"/>
              <a:gd name="connsiteY9" fmla="*/ 1116676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6003001 w 12227029"/>
              <a:gd name="connsiteY5" fmla="*/ 1116676 h 6856954"/>
              <a:gd name="connsiteX6" fmla="*/ 5964901 w 12227029"/>
              <a:gd name="connsiteY6" fmla="*/ 2263654 h 6856954"/>
              <a:gd name="connsiteX7" fmla="*/ 7102710 w 12227029"/>
              <a:gd name="connsiteY7" fmla="*/ 2256510 h 6856954"/>
              <a:gd name="connsiteX8" fmla="*/ 7090804 w 12227029"/>
              <a:gd name="connsiteY8" fmla="*/ 1097626 h 6856954"/>
              <a:gd name="connsiteX9" fmla="*/ 6003001 w 12227029"/>
              <a:gd name="connsiteY9" fmla="*/ 1116676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6003001 w 12227029"/>
              <a:gd name="connsiteY5" fmla="*/ 1116676 h 6856954"/>
              <a:gd name="connsiteX6" fmla="*/ 5969664 w 12227029"/>
              <a:gd name="connsiteY6" fmla="*/ 2256510 h 6856954"/>
              <a:gd name="connsiteX7" fmla="*/ 7102710 w 12227029"/>
              <a:gd name="connsiteY7" fmla="*/ 2256510 h 6856954"/>
              <a:gd name="connsiteX8" fmla="*/ 7090804 w 12227029"/>
              <a:gd name="connsiteY8" fmla="*/ 1097626 h 6856954"/>
              <a:gd name="connsiteX9" fmla="*/ 6003001 w 12227029"/>
              <a:gd name="connsiteY9" fmla="*/ 1116676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6003001 w 12227029"/>
              <a:gd name="connsiteY5" fmla="*/ 1116676 h 6856954"/>
              <a:gd name="connsiteX6" fmla="*/ 5969664 w 12227029"/>
              <a:gd name="connsiteY6" fmla="*/ 2256510 h 6856954"/>
              <a:gd name="connsiteX7" fmla="*/ 7102710 w 12227029"/>
              <a:gd name="connsiteY7" fmla="*/ 2256510 h 6856954"/>
              <a:gd name="connsiteX8" fmla="*/ 7102710 w 12227029"/>
              <a:gd name="connsiteY8" fmla="*/ 1116676 h 6856954"/>
              <a:gd name="connsiteX9" fmla="*/ 6003001 w 12227029"/>
              <a:gd name="connsiteY9" fmla="*/ 1116676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5964901 w 12227029"/>
              <a:gd name="connsiteY5" fmla="*/ 1114294 h 6856954"/>
              <a:gd name="connsiteX6" fmla="*/ 5969664 w 12227029"/>
              <a:gd name="connsiteY6" fmla="*/ 2256510 h 6856954"/>
              <a:gd name="connsiteX7" fmla="*/ 7102710 w 12227029"/>
              <a:gd name="connsiteY7" fmla="*/ 2256510 h 6856954"/>
              <a:gd name="connsiteX8" fmla="*/ 7102710 w 12227029"/>
              <a:gd name="connsiteY8" fmla="*/ 1116676 h 6856954"/>
              <a:gd name="connsiteX9" fmla="*/ 5964901 w 12227029"/>
              <a:gd name="connsiteY9" fmla="*/ 1114294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5964901 w 12227029"/>
              <a:gd name="connsiteY5" fmla="*/ 1114294 h 6856954"/>
              <a:gd name="connsiteX6" fmla="*/ 5969664 w 12227029"/>
              <a:gd name="connsiteY6" fmla="*/ 2256510 h 6856954"/>
              <a:gd name="connsiteX7" fmla="*/ 7102710 w 12227029"/>
              <a:gd name="connsiteY7" fmla="*/ 2256510 h 6856954"/>
              <a:gd name="connsiteX8" fmla="*/ 7102710 w 12227029"/>
              <a:gd name="connsiteY8" fmla="*/ 1119058 h 6856954"/>
              <a:gd name="connsiteX9" fmla="*/ 5964901 w 12227029"/>
              <a:gd name="connsiteY9" fmla="*/ 1114294 h 6856954"/>
              <a:gd name="connsiteX0" fmla="*/ 0 w 12212741"/>
              <a:gd name="connsiteY0" fmla="*/ 0 h 6864098"/>
              <a:gd name="connsiteX1" fmla="*/ 12212741 w 12212741"/>
              <a:gd name="connsiteY1" fmla="*/ 7144 h 6864098"/>
              <a:gd name="connsiteX2" fmla="*/ 12193691 w 12212741"/>
              <a:gd name="connsiteY2" fmla="*/ 6854573 h 6864098"/>
              <a:gd name="connsiteX3" fmla="*/ 4762 w 12212741"/>
              <a:gd name="connsiteY3" fmla="*/ 6864098 h 6864098"/>
              <a:gd name="connsiteX4" fmla="*/ 0 w 12212741"/>
              <a:gd name="connsiteY4" fmla="*/ 0 h 6864098"/>
              <a:gd name="connsiteX5" fmla="*/ 5950613 w 12212741"/>
              <a:gd name="connsiteY5" fmla="*/ 1121438 h 6864098"/>
              <a:gd name="connsiteX6" fmla="*/ 5955376 w 12212741"/>
              <a:gd name="connsiteY6" fmla="*/ 2263654 h 6864098"/>
              <a:gd name="connsiteX7" fmla="*/ 7088422 w 12212741"/>
              <a:gd name="connsiteY7" fmla="*/ 2263654 h 6864098"/>
              <a:gd name="connsiteX8" fmla="*/ 7088422 w 12212741"/>
              <a:gd name="connsiteY8" fmla="*/ 1126202 h 6864098"/>
              <a:gd name="connsiteX9" fmla="*/ 5950613 w 12212741"/>
              <a:gd name="connsiteY9" fmla="*/ 1121438 h 6864098"/>
              <a:gd name="connsiteX0" fmla="*/ 0 w 12193691"/>
              <a:gd name="connsiteY0" fmla="*/ 0 h 6864098"/>
              <a:gd name="connsiteX1" fmla="*/ 12191310 w 12193691"/>
              <a:gd name="connsiteY1" fmla="*/ 2381 h 6864098"/>
              <a:gd name="connsiteX2" fmla="*/ 12193691 w 12193691"/>
              <a:gd name="connsiteY2" fmla="*/ 6854573 h 6864098"/>
              <a:gd name="connsiteX3" fmla="*/ 4762 w 12193691"/>
              <a:gd name="connsiteY3" fmla="*/ 6864098 h 6864098"/>
              <a:gd name="connsiteX4" fmla="*/ 0 w 12193691"/>
              <a:gd name="connsiteY4" fmla="*/ 0 h 6864098"/>
              <a:gd name="connsiteX5" fmla="*/ 5950613 w 12193691"/>
              <a:gd name="connsiteY5" fmla="*/ 1121438 h 6864098"/>
              <a:gd name="connsiteX6" fmla="*/ 5955376 w 12193691"/>
              <a:gd name="connsiteY6" fmla="*/ 2263654 h 6864098"/>
              <a:gd name="connsiteX7" fmla="*/ 7088422 w 12193691"/>
              <a:gd name="connsiteY7" fmla="*/ 2263654 h 6864098"/>
              <a:gd name="connsiteX8" fmla="*/ 7088422 w 12193691"/>
              <a:gd name="connsiteY8" fmla="*/ 1126202 h 6864098"/>
              <a:gd name="connsiteX9" fmla="*/ 5950613 w 12193691"/>
              <a:gd name="connsiteY9" fmla="*/ 1121438 h 6864098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54573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55376 w 12198454"/>
              <a:gd name="connsiteY5" fmla="*/ 1121438 h 6873623"/>
              <a:gd name="connsiteX6" fmla="*/ 5960139 w 12198454"/>
              <a:gd name="connsiteY6" fmla="*/ 2263654 h 6873623"/>
              <a:gd name="connsiteX7" fmla="*/ 7093185 w 12198454"/>
              <a:gd name="connsiteY7" fmla="*/ 2263654 h 6873623"/>
              <a:gd name="connsiteX8" fmla="*/ 7093185 w 12198454"/>
              <a:gd name="connsiteY8" fmla="*/ 1126202 h 6873623"/>
              <a:gd name="connsiteX9" fmla="*/ 5955376 w 12198454"/>
              <a:gd name="connsiteY9" fmla="*/ 1121438 h 6873623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64098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55376 w 12198454"/>
              <a:gd name="connsiteY5" fmla="*/ 1121438 h 6873623"/>
              <a:gd name="connsiteX6" fmla="*/ 5960139 w 12198454"/>
              <a:gd name="connsiteY6" fmla="*/ 2263654 h 6873623"/>
              <a:gd name="connsiteX7" fmla="*/ 7093185 w 12198454"/>
              <a:gd name="connsiteY7" fmla="*/ 2263654 h 6873623"/>
              <a:gd name="connsiteX8" fmla="*/ 7093185 w 12198454"/>
              <a:gd name="connsiteY8" fmla="*/ 1126202 h 6873623"/>
              <a:gd name="connsiteX9" fmla="*/ 5955376 w 12198454"/>
              <a:gd name="connsiteY9" fmla="*/ 1121438 h 6873623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64098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55376 w 12198454"/>
              <a:gd name="connsiteY5" fmla="*/ 1121438 h 6873623"/>
              <a:gd name="connsiteX6" fmla="*/ 5960139 w 12198454"/>
              <a:gd name="connsiteY6" fmla="*/ 2263654 h 6873623"/>
              <a:gd name="connsiteX7" fmla="*/ 7093185 w 12198454"/>
              <a:gd name="connsiteY7" fmla="*/ 2263654 h 6873623"/>
              <a:gd name="connsiteX8" fmla="*/ 7107472 w 12198454"/>
              <a:gd name="connsiteY8" fmla="*/ 1126202 h 6873623"/>
              <a:gd name="connsiteX9" fmla="*/ 5955376 w 12198454"/>
              <a:gd name="connsiteY9" fmla="*/ 1121438 h 6873623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64098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55376 w 12198454"/>
              <a:gd name="connsiteY5" fmla="*/ 1121438 h 6873623"/>
              <a:gd name="connsiteX6" fmla="*/ 5960139 w 12198454"/>
              <a:gd name="connsiteY6" fmla="*/ 2263654 h 6873623"/>
              <a:gd name="connsiteX7" fmla="*/ 7107472 w 12198454"/>
              <a:gd name="connsiteY7" fmla="*/ 2263654 h 6873623"/>
              <a:gd name="connsiteX8" fmla="*/ 7107472 w 12198454"/>
              <a:gd name="connsiteY8" fmla="*/ 1126202 h 6873623"/>
              <a:gd name="connsiteX9" fmla="*/ 5955376 w 12198454"/>
              <a:gd name="connsiteY9" fmla="*/ 1121438 h 6873623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64098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55376 w 12198454"/>
              <a:gd name="connsiteY5" fmla="*/ 1121438 h 6873623"/>
              <a:gd name="connsiteX6" fmla="*/ 5960139 w 12198454"/>
              <a:gd name="connsiteY6" fmla="*/ 2263654 h 6873623"/>
              <a:gd name="connsiteX7" fmla="*/ 7107472 w 12198454"/>
              <a:gd name="connsiteY7" fmla="*/ 2263654 h 6873623"/>
              <a:gd name="connsiteX8" fmla="*/ 7107472 w 12198454"/>
              <a:gd name="connsiteY8" fmla="*/ 1121440 h 6873623"/>
              <a:gd name="connsiteX9" fmla="*/ 5955376 w 12198454"/>
              <a:gd name="connsiteY9" fmla="*/ 1121438 h 6873623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64098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60138 w 12198454"/>
              <a:gd name="connsiteY5" fmla="*/ 1121438 h 6873623"/>
              <a:gd name="connsiteX6" fmla="*/ 5960139 w 12198454"/>
              <a:gd name="connsiteY6" fmla="*/ 2263654 h 6873623"/>
              <a:gd name="connsiteX7" fmla="*/ 7107472 w 12198454"/>
              <a:gd name="connsiteY7" fmla="*/ 2263654 h 6873623"/>
              <a:gd name="connsiteX8" fmla="*/ 7107472 w 12198454"/>
              <a:gd name="connsiteY8" fmla="*/ 1121440 h 6873623"/>
              <a:gd name="connsiteX9" fmla="*/ 5960138 w 12198454"/>
              <a:gd name="connsiteY9" fmla="*/ 1121438 h 68736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8454" h="6873623">
                <a:moveTo>
                  <a:pt x="4763" y="0"/>
                </a:moveTo>
                <a:lnTo>
                  <a:pt x="12196073" y="2381"/>
                </a:lnTo>
                <a:cubicBezTo>
                  <a:pt x="12196867" y="2286445"/>
                  <a:pt x="12197660" y="4580034"/>
                  <a:pt x="12198454" y="6864098"/>
                </a:cubicBezTo>
                <a:lnTo>
                  <a:pt x="0" y="6873623"/>
                </a:lnTo>
                <a:cubicBezTo>
                  <a:pt x="0" y="5597622"/>
                  <a:pt x="4763" y="1276001"/>
                  <a:pt x="4763" y="0"/>
                </a:cubicBezTo>
                <a:close/>
                <a:moveTo>
                  <a:pt x="5960138" y="1121438"/>
                </a:moveTo>
                <a:cubicBezTo>
                  <a:pt x="5961726" y="1502177"/>
                  <a:pt x="5958551" y="1882915"/>
                  <a:pt x="5960139" y="2263654"/>
                </a:cubicBezTo>
                <a:lnTo>
                  <a:pt x="7107472" y="2263654"/>
                </a:lnTo>
                <a:lnTo>
                  <a:pt x="7107472" y="1121440"/>
                </a:lnTo>
                <a:lnTo>
                  <a:pt x="5960138" y="112143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CS Location Date Placeholder"/>
          <p:cNvSpPr>
            <a:spLocks noGrp="1"/>
          </p:cNvSpPr>
          <p:nvPr>
            <p:ph type="subTitle" idx="1" hasCustomPrompt="1"/>
          </p:nvPr>
        </p:nvSpPr>
        <p:spPr>
          <a:xfrm>
            <a:off x="3106800" y="4438800"/>
            <a:ext cx="2844000" cy="288000"/>
          </a:xfrm>
          <a:solidFill>
            <a:schemeClr val="accent2"/>
          </a:solidFill>
        </p:spPr>
        <p:txBody>
          <a:bodyPr lIns="252000" rIns="72000" anchor="ctr" anchorCtr="0">
            <a:normAutofit/>
          </a:bodyPr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Location, MM/DD/YYYY</a:t>
            </a:r>
          </a:p>
        </p:txBody>
      </p:sp>
      <p:pic>
        <p:nvPicPr>
          <p:cNvPr id="7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51984" y="1124743"/>
            <a:ext cx="1152525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CS Action title Placeholder"/>
          <p:cNvSpPr>
            <a:spLocks noGrp="1"/>
          </p:cNvSpPr>
          <p:nvPr>
            <p:ph type="title" hasCustomPrompt="1"/>
          </p:nvPr>
        </p:nvSpPr>
        <p:spPr>
          <a:xfrm>
            <a:off x="550800" y="1124743"/>
            <a:ext cx="5400000" cy="3310040"/>
          </a:xfr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lIns="288000" tIns="180000" rIns="216000" bIns="180000"/>
          <a:lstStyle>
            <a:lvl1pPr>
              <a:defRPr/>
            </a:lvl1pPr>
          </a:lstStyle>
          <a:p>
            <a:r>
              <a:rPr lang="en-US" noProof="0"/>
              <a:t>Click to insert action title.</a:t>
            </a:r>
          </a:p>
        </p:txBody>
      </p:sp>
      <p:sp>
        <p:nvSpPr>
          <p:cNvPr id="13" name="CSVersion"/>
          <p:cNvSpPr/>
          <p:nvPr userDrawn="1"/>
        </p:nvSpPr>
        <p:spPr>
          <a:xfrm>
            <a:off x="5411392" y="4254783"/>
            <a:ext cx="54000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800">
                <a:solidFill>
                  <a:schemeClr val="bg1"/>
                </a:solidFill>
              </a:rPr>
              <a:t>V 14.11</a:t>
            </a:r>
          </a:p>
        </p:txBody>
      </p:sp>
    </p:spTree>
    <p:extLst>
      <p:ext uri="{BB962C8B-B14F-4D97-AF65-F5344CB8AC3E}">
        <p14:creationId xmlns:p14="http://schemas.microsoft.com/office/powerpoint/2010/main" val="126627262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I (Variable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S Picture"/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12191999" cy="6597351"/>
          </a:xfrm>
          <a:custGeom>
            <a:avLst/>
            <a:gdLst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1999" h="6597351">
                <a:moveTo>
                  <a:pt x="0" y="0"/>
                </a:moveTo>
                <a:lnTo>
                  <a:pt x="10490994" y="0"/>
                </a:lnTo>
                <a:cubicBezTo>
                  <a:pt x="10490200" y="381000"/>
                  <a:pt x="10489407" y="762000"/>
                  <a:pt x="10488613" y="1143000"/>
                </a:cubicBezTo>
                <a:lnTo>
                  <a:pt x="11641138" y="1143000"/>
                </a:lnTo>
                <a:lnTo>
                  <a:pt x="11641138" y="0"/>
                </a:lnTo>
                <a:lnTo>
                  <a:pt x="12191999" y="0"/>
                </a:lnTo>
                <a:lnTo>
                  <a:pt x="12191999" y="6597351"/>
                </a:lnTo>
                <a:lnTo>
                  <a:pt x="0" y="6597351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CS Action title Placeholder"/>
          <p:cNvSpPr>
            <a:spLocks noGrp="1"/>
          </p:cNvSpPr>
          <p:nvPr>
            <p:ph type="title" hasCustomPrompt="1"/>
          </p:nvPr>
        </p:nvSpPr>
        <p:spPr>
          <a:xfrm>
            <a:off x="550800" y="3790800"/>
            <a:ext cx="6624000" cy="1980000"/>
          </a:xfr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lIns="288000" tIns="180000" rIns="216000" bIns="180000"/>
          <a:lstStyle>
            <a:lvl1pPr>
              <a:defRPr/>
            </a:lvl1pPr>
          </a:lstStyle>
          <a:p>
            <a:r>
              <a:rPr lang="en-US"/>
              <a:t>Click to insert action title.</a:t>
            </a:r>
            <a:endParaRPr lang="de-DE"/>
          </a:p>
        </p:txBody>
      </p:sp>
      <p:pic>
        <p:nvPicPr>
          <p:cNvPr id="5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3" y="0"/>
            <a:ext cx="1152525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7436404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II (Variable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S Picture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-8627" y="1"/>
            <a:ext cx="12200626" cy="6864770"/>
          </a:xfrm>
          <a:custGeom>
            <a:avLst/>
            <a:gdLst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856143"/>
              <a:gd name="connsiteX1" fmla="*/ 10490994 w 12191999"/>
              <a:gd name="connsiteY1" fmla="*/ 0 h 6856143"/>
              <a:gd name="connsiteX2" fmla="*/ 10488613 w 12191999"/>
              <a:gd name="connsiteY2" fmla="*/ 1143000 h 6856143"/>
              <a:gd name="connsiteX3" fmla="*/ 11641138 w 12191999"/>
              <a:gd name="connsiteY3" fmla="*/ 1143000 h 6856143"/>
              <a:gd name="connsiteX4" fmla="*/ 11641138 w 12191999"/>
              <a:gd name="connsiteY4" fmla="*/ 0 h 6856143"/>
              <a:gd name="connsiteX5" fmla="*/ 12191999 w 12191999"/>
              <a:gd name="connsiteY5" fmla="*/ 0 h 6856143"/>
              <a:gd name="connsiteX6" fmla="*/ 12191999 w 12191999"/>
              <a:gd name="connsiteY6" fmla="*/ 6856143 h 6856143"/>
              <a:gd name="connsiteX7" fmla="*/ 0 w 12191999"/>
              <a:gd name="connsiteY7" fmla="*/ 6597351 h 6856143"/>
              <a:gd name="connsiteX8" fmla="*/ 0 w 12191999"/>
              <a:gd name="connsiteY8" fmla="*/ 0 h 6856143"/>
              <a:gd name="connsiteX0" fmla="*/ 8627 w 12200626"/>
              <a:gd name="connsiteY0" fmla="*/ 0 h 6864770"/>
              <a:gd name="connsiteX1" fmla="*/ 10499621 w 12200626"/>
              <a:gd name="connsiteY1" fmla="*/ 0 h 6864770"/>
              <a:gd name="connsiteX2" fmla="*/ 10497240 w 12200626"/>
              <a:gd name="connsiteY2" fmla="*/ 1143000 h 6864770"/>
              <a:gd name="connsiteX3" fmla="*/ 11649765 w 12200626"/>
              <a:gd name="connsiteY3" fmla="*/ 1143000 h 6864770"/>
              <a:gd name="connsiteX4" fmla="*/ 11649765 w 12200626"/>
              <a:gd name="connsiteY4" fmla="*/ 0 h 6864770"/>
              <a:gd name="connsiteX5" fmla="*/ 12200626 w 12200626"/>
              <a:gd name="connsiteY5" fmla="*/ 0 h 6864770"/>
              <a:gd name="connsiteX6" fmla="*/ 12200626 w 12200626"/>
              <a:gd name="connsiteY6" fmla="*/ 6856143 h 6864770"/>
              <a:gd name="connsiteX7" fmla="*/ 0 w 12200626"/>
              <a:gd name="connsiteY7" fmla="*/ 6864770 h 6864770"/>
              <a:gd name="connsiteX8" fmla="*/ 8627 w 12200626"/>
              <a:gd name="connsiteY8" fmla="*/ 0 h 6864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00626" h="6864770">
                <a:moveTo>
                  <a:pt x="8627" y="0"/>
                </a:moveTo>
                <a:lnTo>
                  <a:pt x="10499621" y="0"/>
                </a:lnTo>
                <a:cubicBezTo>
                  <a:pt x="10498827" y="381000"/>
                  <a:pt x="10498034" y="762000"/>
                  <a:pt x="10497240" y="1143000"/>
                </a:cubicBezTo>
                <a:lnTo>
                  <a:pt x="11649765" y="1143000"/>
                </a:lnTo>
                <a:lnTo>
                  <a:pt x="11649765" y="0"/>
                </a:lnTo>
                <a:lnTo>
                  <a:pt x="12200626" y="0"/>
                </a:lnTo>
                <a:lnTo>
                  <a:pt x="12200626" y="6856143"/>
                </a:lnTo>
                <a:lnTo>
                  <a:pt x="0" y="6864770"/>
                </a:lnTo>
                <a:cubicBezTo>
                  <a:pt x="2876" y="4576513"/>
                  <a:pt x="5751" y="2288257"/>
                  <a:pt x="8627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</a:t>
            </a:r>
            <a:br>
              <a:rPr lang="de-DE"/>
            </a:br>
            <a:r>
              <a:rPr lang="de-DE"/>
              <a:t>Klicken</a:t>
            </a:r>
            <a:br>
              <a:rPr lang="de-DE"/>
            </a:br>
            <a:r>
              <a:rPr lang="de-DE"/>
              <a:t> auf Symbol </a:t>
            </a:r>
            <a:br>
              <a:rPr lang="de-DE"/>
            </a:br>
            <a:r>
              <a:rPr lang="de-DE"/>
              <a:t>hinzufügen</a:t>
            </a:r>
          </a:p>
        </p:txBody>
      </p:sp>
      <p:sp>
        <p:nvSpPr>
          <p:cNvPr id="6" name="CS Action title Placeholder"/>
          <p:cNvSpPr>
            <a:spLocks noGrp="1"/>
          </p:cNvSpPr>
          <p:nvPr>
            <p:ph type="title" hasCustomPrompt="1"/>
          </p:nvPr>
        </p:nvSpPr>
        <p:spPr>
          <a:xfrm>
            <a:off x="550800" y="3790800"/>
            <a:ext cx="4591651" cy="1214663"/>
          </a:xfr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lIns="180000" tIns="144000" rIns="216000" bIns="180000" anchor="ctr" anchorCtr="0"/>
          <a:lstStyle>
            <a:lvl1pPr>
              <a:defRPr b="0"/>
            </a:lvl1pPr>
          </a:lstStyle>
          <a:p>
            <a:r>
              <a:rPr lang="en-US"/>
              <a:t>Click to insert action title.</a:t>
            </a:r>
            <a:endParaRPr lang="de-DE"/>
          </a:p>
        </p:txBody>
      </p:sp>
      <p:pic>
        <p:nvPicPr>
          <p:cNvPr id="7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3" y="0"/>
            <a:ext cx="1152525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1430217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S Action title Placeholder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insert action title.</a:t>
            </a:r>
            <a:endParaRPr lang="de-DE"/>
          </a:p>
        </p:txBody>
      </p:sp>
      <p:sp>
        <p:nvSpPr>
          <p:cNvPr id="3" name="CS Body text Placeholder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n-US" noProof="0"/>
              <a:t>Click to inser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pic>
        <p:nvPicPr>
          <p:cNvPr id="5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3" y="0"/>
            <a:ext cx="1152525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3090061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Variable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S Picture"/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12191999" cy="6597351"/>
          </a:xfrm>
          <a:custGeom>
            <a:avLst/>
            <a:gdLst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1999" h="6597351">
                <a:moveTo>
                  <a:pt x="0" y="0"/>
                </a:moveTo>
                <a:lnTo>
                  <a:pt x="10490994" y="0"/>
                </a:lnTo>
                <a:cubicBezTo>
                  <a:pt x="10490200" y="381000"/>
                  <a:pt x="10489407" y="762000"/>
                  <a:pt x="10488613" y="1143000"/>
                </a:cubicBezTo>
                <a:lnTo>
                  <a:pt x="11641138" y="1143000"/>
                </a:lnTo>
                <a:lnTo>
                  <a:pt x="11641138" y="0"/>
                </a:lnTo>
                <a:lnTo>
                  <a:pt x="12191999" y="0"/>
                </a:lnTo>
                <a:lnTo>
                  <a:pt x="12191999" y="6597351"/>
                </a:lnTo>
                <a:lnTo>
                  <a:pt x="0" y="6597351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non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5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3" y="0"/>
            <a:ext cx="1152525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platzhalt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10800" y="-4763"/>
            <a:ext cx="12181200" cy="6602114"/>
          </a:xfrm>
          <a:custGeom>
            <a:avLst/>
            <a:gdLst>
              <a:gd name="connsiteX0" fmla="*/ 0 w 12181200"/>
              <a:gd name="connsiteY0" fmla="*/ 0 h 6597351"/>
              <a:gd name="connsiteX1" fmla="*/ 12181200 w 12181200"/>
              <a:gd name="connsiteY1" fmla="*/ 0 h 6597351"/>
              <a:gd name="connsiteX2" fmla="*/ 12181200 w 12181200"/>
              <a:gd name="connsiteY2" fmla="*/ 6597351 h 6597351"/>
              <a:gd name="connsiteX3" fmla="*/ 0 w 12181200"/>
              <a:gd name="connsiteY3" fmla="*/ 6597351 h 6597351"/>
              <a:gd name="connsiteX4" fmla="*/ 0 w 12181200"/>
              <a:gd name="connsiteY4" fmla="*/ 0 h 6597351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2181200 w 12181200"/>
              <a:gd name="connsiteY2" fmla="*/ 4763 h 6602114"/>
              <a:gd name="connsiteX3" fmla="*/ 12181200 w 12181200"/>
              <a:gd name="connsiteY3" fmla="*/ 6602114 h 6602114"/>
              <a:gd name="connsiteX4" fmla="*/ 0 w 12181200"/>
              <a:gd name="connsiteY4" fmla="*/ 6602114 h 6602114"/>
              <a:gd name="connsiteX5" fmla="*/ 0 w 12181200"/>
              <a:gd name="connsiteY5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406500 w 12181200"/>
              <a:gd name="connsiteY2" fmla="*/ 4763 h 6602114"/>
              <a:gd name="connsiteX3" fmla="*/ 12181200 w 12181200"/>
              <a:gd name="connsiteY3" fmla="*/ 4763 h 6602114"/>
              <a:gd name="connsiteX4" fmla="*/ 12181200 w 12181200"/>
              <a:gd name="connsiteY4" fmla="*/ 6602114 h 6602114"/>
              <a:gd name="connsiteX5" fmla="*/ 0 w 12181200"/>
              <a:gd name="connsiteY5" fmla="*/ 6602114 h 6602114"/>
              <a:gd name="connsiteX6" fmla="*/ 0 w 12181200"/>
              <a:gd name="connsiteY6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022325 w 12181200"/>
              <a:gd name="connsiteY2" fmla="*/ 4763 h 6602114"/>
              <a:gd name="connsiteX3" fmla="*/ 11406500 w 12181200"/>
              <a:gd name="connsiteY3" fmla="*/ 4763 h 6602114"/>
              <a:gd name="connsiteX4" fmla="*/ 12181200 w 12181200"/>
              <a:gd name="connsiteY4" fmla="*/ 4763 h 6602114"/>
              <a:gd name="connsiteX5" fmla="*/ 12181200 w 12181200"/>
              <a:gd name="connsiteY5" fmla="*/ 6602114 h 6602114"/>
              <a:gd name="connsiteX6" fmla="*/ 0 w 12181200"/>
              <a:gd name="connsiteY6" fmla="*/ 6602114 h 6602114"/>
              <a:gd name="connsiteX7" fmla="*/ 0 w 12181200"/>
              <a:gd name="connsiteY7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022325 w 12181200"/>
              <a:gd name="connsiteY2" fmla="*/ 4763 h 6602114"/>
              <a:gd name="connsiteX3" fmla="*/ 11216000 w 12181200"/>
              <a:gd name="connsiteY3" fmla="*/ 1588 h 6602114"/>
              <a:gd name="connsiteX4" fmla="*/ 11406500 w 12181200"/>
              <a:gd name="connsiteY4" fmla="*/ 4763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022325 w 12181200"/>
              <a:gd name="connsiteY2" fmla="*/ 4763 h 6602114"/>
              <a:gd name="connsiteX3" fmla="*/ 11212825 w 12181200"/>
              <a:gd name="connsiteY3" fmla="*/ 1154113 h 6602114"/>
              <a:gd name="connsiteX4" fmla="*/ 11406500 w 12181200"/>
              <a:gd name="connsiteY4" fmla="*/ 4763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022325 w 12181200"/>
              <a:gd name="connsiteY2" fmla="*/ 4763 h 6602114"/>
              <a:gd name="connsiteX3" fmla="*/ 11212825 w 12181200"/>
              <a:gd name="connsiteY3" fmla="*/ 1154113 h 6602114"/>
              <a:gd name="connsiteX4" fmla="*/ 11628750 w 12181200"/>
              <a:gd name="connsiteY4" fmla="*/ 1588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022325 w 12181200"/>
              <a:gd name="connsiteY2" fmla="*/ 4763 h 6602114"/>
              <a:gd name="connsiteX3" fmla="*/ 11631925 w 12181200"/>
              <a:gd name="connsiteY3" fmla="*/ 1157288 h 6602114"/>
              <a:gd name="connsiteX4" fmla="*/ 11628750 w 12181200"/>
              <a:gd name="connsiteY4" fmla="*/ 1588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487338 w 12181200"/>
              <a:gd name="connsiteY1" fmla="*/ 0 h 6602114"/>
              <a:gd name="connsiteX2" fmla="*/ 11022325 w 12181200"/>
              <a:gd name="connsiteY2" fmla="*/ 4763 h 6602114"/>
              <a:gd name="connsiteX3" fmla="*/ 11631925 w 12181200"/>
              <a:gd name="connsiteY3" fmla="*/ 1157288 h 6602114"/>
              <a:gd name="connsiteX4" fmla="*/ 11628750 w 12181200"/>
              <a:gd name="connsiteY4" fmla="*/ 1588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487338 w 12181200"/>
              <a:gd name="connsiteY1" fmla="*/ 0 h 6602114"/>
              <a:gd name="connsiteX2" fmla="*/ 10482575 w 12181200"/>
              <a:gd name="connsiteY2" fmla="*/ 1144588 h 6602114"/>
              <a:gd name="connsiteX3" fmla="*/ 11631925 w 12181200"/>
              <a:gd name="connsiteY3" fmla="*/ 1157288 h 6602114"/>
              <a:gd name="connsiteX4" fmla="*/ 11628750 w 12181200"/>
              <a:gd name="connsiteY4" fmla="*/ 1588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487338 w 12181200"/>
              <a:gd name="connsiteY1" fmla="*/ 0 h 6602114"/>
              <a:gd name="connsiteX2" fmla="*/ 10482575 w 12181200"/>
              <a:gd name="connsiteY2" fmla="*/ 1144588 h 6602114"/>
              <a:gd name="connsiteX3" fmla="*/ 11631925 w 12181200"/>
              <a:gd name="connsiteY3" fmla="*/ 1144588 h 6602114"/>
              <a:gd name="connsiteX4" fmla="*/ 11628750 w 12181200"/>
              <a:gd name="connsiteY4" fmla="*/ 1588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81200" h="6602114">
                <a:moveTo>
                  <a:pt x="0" y="4763"/>
                </a:moveTo>
                <a:lnTo>
                  <a:pt x="10487338" y="0"/>
                </a:lnTo>
                <a:cubicBezTo>
                  <a:pt x="10485750" y="381529"/>
                  <a:pt x="10484163" y="763059"/>
                  <a:pt x="10482575" y="1144588"/>
                </a:cubicBezTo>
                <a:lnTo>
                  <a:pt x="11631925" y="1144588"/>
                </a:lnTo>
                <a:cubicBezTo>
                  <a:pt x="11630867" y="759355"/>
                  <a:pt x="11629808" y="386821"/>
                  <a:pt x="11628750" y="1588"/>
                </a:cubicBezTo>
                <a:lnTo>
                  <a:pt x="12181200" y="4763"/>
                </a:lnTo>
                <a:lnTo>
                  <a:pt x="12181200" y="6602114"/>
                </a:lnTo>
                <a:lnTo>
                  <a:pt x="0" y="6602114"/>
                </a:lnTo>
                <a:lnTo>
                  <a:pt x="0" y="4763"/>
                </a:lnTo>
                <a:close/>
              </a:path>
            </a:pathLst>
          </a:custGeom>
          <a:solidFill>
            <a:srgbClr val="FFFFFF">
              <a:alpha val="69804"/>
            </a:srgbClr>
          </a:solidFill>
        </p:spPr>
        <p:txBody>
          <a:bodyPr anchor="b" anchorCtr="0"/>
          <a:lstStyle>
            <a:lvl1pPr marL="0" indent="0" algn="ctr">
              <a:buNone/>
              <a:defRPr/>
            </a:lvl1pPr>
            <a:lvl2pPr marL="182562" indent="0">
              <a:buNone/>
              <a:defRPr/>
            </a:lvl2pPr>
            <a:lvl3pPr marL="406400" indent="0">
              <a:buNone/>
              <a:defRPr/>
            </a:lvl3pPr>
            <a:lvl4pPr marL="630237" indent="0">
              <a:buNone/>
              <a:defRPr/>
            </a:lvl4pPr>
            <a:lvl5pPr marL="863600" indent="0">
              <a:buNone/>
              <a:defRPr/>
            </a:lvl5pPr>
          </a:lstStyle>
          <a:p>
            <a:pPr lvl="0"/>
            <a:r>
              <a:rPr lang="de-DE"/>
              <a:t>White Layer</a:t>
            </a:r>
          </a:p>
        </p:txBody>
      </p:sp>
      <p:sp>
        <p:nvSpPr>
          <p:cNvPr id="3" name="CS Body text Placeholder"/>
          <p:cNvSpPr>
            <a:spLocks noGrp="1"/>
          </p:cNvSpPr>
          <p:nvPr>
            <p:ph idx="1" hasCustomPrompt="1"/>
          </p:nvPr>
        </p:nvSpPr>
        <p:spPr>
          <a:xfrm>
            <a:off x="550801" y="1728000"/>
            <a:ext cx="8282050" cy="4500000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inser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CS Action title Placeholder"/>
          <p:cNvSpPr>
            <a:spLocks noGrp="1"/>
          </p:cNvSpPr>
          <p:nvPr>
            <p:ph type="title" hasCustomPrompt="1"/>
          </p:nvPr>
        </p:nvSpPr>
        <p:spPr>
          <a:solidFill>
            <a:srgbClr val="FFFFFF"/>
          </a:solidFill>
          <a:effectLst>
            <a:glow rad="63500">
              <a:schemeClr val="accent3">
                <a:satMod val="175000"/>
                <a:alpha val="20000"/>
              </a:schemeClr>
            </a:glow>
          </a:effectLst>
        </p:spPr>
        <p:txBody>
          <a:bodyPr lIns="180000" tIns="54000" rIns="180000"/>
          <a:lstStyle>
            <a:lvl1pPr>
              <a:defRPr/>
            </a:lvl1pPr>
          </a:lstStyle>
          <a:p>
            <a:r>
              <a:rPr lang="en-US"/>
              <a:t>Click to insert action title.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0953769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3" y="0"/>
            <a:ext cx="1152525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5544396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S Action title Placeholder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insert action title.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846856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S Worldwid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" y="0"/>
            <a:ext cx="12191442" cy="6597347"/>
          </a:xfrm>
          <a:custGeom>
            <a:avLst/>
            <a:gdLst/>
            <a:ahLst/>
            <a:cxnLst/>
            <a:rect l="l" t="t" r="r" b="b"/>
            <a:pathLst>
              <a:path w="12191999" h="6597351">
                <a:moveTo>
                  <a:pt x="0" y="0"/>
                </a:moveTo>
                <a:lnTo>
                  <a:pt x="10488613" y="0"/>
                </a:lnTo>
                <a:lnTo>
                  <a:pt x="10488613" y="1143000"/>
                </a:lnTo>
                <a:lnTo>
                  <a:pt x="11641138" y="1143000"/>
                </a:lnTo>
                <a:lnTo>
                  <a:pt x="11641138" y="0"/>
                </a:lnTo>
                <a:lnTo>
                  <a:pt x="12191999" y="0"/>
                </a:lnTo>
                <a:lnTo>
                  <a:pt x="12191999" y="6597351"/>
                </a:lnTo>
                <a:lnTo>
                  <a:pt x="0" y="6597351"/>
                </a:lnTo>
                <a:close/>
              </a:path>
            </a:pathLst>
          </a:custGeom>
        </p:spPr>
      </p:pic>
      <p:sp>
        <p:nvSpPr>
          <p:cNvPr id="12" name="CS Thank You"/>
          <p:cNvSpPr>
            <a:spLocks noGrp="1"/>
          </p:cNvSpPr>
          <p:nvPr>
            <p:ph type="title" hasCustomPrompt="1"/>
          </p:nvPr>
        </p:nvSpPr>
        <p:spPr>
          <a:xfrm>
            <a:off x="550800" y="3502800"/>
            <a:ext cx="4716000" cy="2592000"/>
          </a:xfr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lIns="288000" tIns="180000" rIns="216000" bIns="180000"/>
          <a:lstStyle>
            <a:lvl1pPr>
              <a:defRPr baseline="0"/>
            </a:lvl1pPr>
          </a:lstStyle>
          <a:p>
            <a:r>
              <a:rPr lang="en-US" noProof="0"/>
              <a:t>Thank you!</a:t>
            </a:r>
          </a:p>
        </p:txBody>
      </p:sp>
      <p:pic>
        <p:nvPicPr>
          <p:cNvPr id="10" name="CS 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3" y="0"/>
            <a:ext cx="1152525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CS Contact"/>
          <p:cNvSpPr>
            <a:spLocks noGrp="1"/>
          </p:cNvSpPr>
          <p:nvPr>
            <p:ph type="body" sz="quarter" idx="13" hasCustomPrompt="1"/>
          </p:nvPr>
        </p:nvSpPr>
        <p:spPr>
          <a:xfrm>
            <a:off x="838800" y="4474800"/>
            <a:ext cx="4284000" cy="1440000"/>
          </a:xfrm>
        </p:spPr>
        <p:txBody>
          <a:bodyPr anchor="b">
            <a:noAutofit/>
          </a:bodyPr>
          <a:lstStyle>
            <a:lvl1pPr marL="0" indent="0">
              <a:lnSpc>
                <a:spcPct val="12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insert text</a:t>
            </a:r>
          </a:p>
        </p:txBody>
      </p:sp>
      <p:pic>
        <p:nvPicPr>
          <p:cNvPr id="13" name="CS 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3" y="-27"/>
            <a:ext cx="1152525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4037898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S Background">
            <a:extLst>
              <a:ext uri="{FF2B5EF4-FFF2-40B4-BE49-F238E27FC236}">
                <a16:creationId xmlns:a16="http://schemas.microsoft.com/office/drawing/2014/main" id="{08CF2BE9-8994-4B3D-B2F6-9D4B1E5139D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439701"/>
            <a:ext cx="12192000" cy="5196840"/>
          </a:xfrm>
          <a:prstGeom prst="rect">
            <a:avLst/>
          </a:prstGeom>
        </p:spPr>
      </p:pic>
      <p:sp>
        <p:nvSpPr>
          <p:cNvPr id="12" name="CS Action title Placeholder"/>
          <p:cNvSpPr>
            <a:spLocks noGrp="1"/>
          </p:cNvSpPr>
          <p:nvPr>
            <p:ph type="title" hasCustomPrompt="1"/>
          </p:nvPr>
        </p:nvSpPr>
        <p:spPr>
          <a:xfrm>
            <a:off x="550800" y="1124743"/>
            <a:ext cx="5400000" cy="3310040"/>
          </a:xfr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lIns="288000" tIns="180000" rIns="216000" bIns="180000"/>
          <a:lstStyle/>
          <a:p>
            <a:r>
              <a:rPr lang="en-US"/>
              <a:t>Click to insert action title</a:t>
            </a:r>
            <a:endParaRPr lang="de-DE"/>
          </a:p>
        </p:txBody>
      </p:sp>
      <p:sp>
        <p:nvSpPr>
          <p:cNvPr id="13" name="CSVersion"/>
          <p:cNvSpPr/>
          <p:nvPr userDrawn="1"/>
        </p:nvSpPr>
        <p:spPr>
          <a:xfrm>
            <a:off x="5409696" y="4245694"/>
            <a:ext cx="54000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800">
                <a:solidFill>
                  <a:srgbClr val="FFFFFF"/>
                </a:solidFill>
              </a:rPr>
              <a:t>V 14.11</a:t>
            </a:r>
          </a:p>
        </p:txBody>
      </p:sp>
    </p:spTree>
    <p:extLst>
      <p:ext uri="{BB962C8B-B14F-4D97-AF65-F5344CB8AC3E}">
        <p14:creationId xmlns:p14="http://schemas.microsoft.com/office/powerpoint/2010/main" val="38196878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214D4-C82E-FE81-EB8E-BB9EA8B23E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88744A2-3F04-50B2-7DBB-414A786500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8F190A-4089-9071-BD9C-93CDFFAB57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11.08.2022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2B8FC4B-B87A-35C2-1EF6-939A36EC16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9248D1-3F22-26BC-807D-926C510C13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19982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A0FE72-7F68-6519-2161-EEF74F212B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E2CF2A-5650-3BC1-08A0-43A5B158DD5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85F52C4-E0FF-9B1F-637F-9794B20AA76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4C8BBDC-FDAF-84FD-9415-269FFFFC6C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11.08.2022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95EA29C-A674-A96D-FC42-ED1B51C2F0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C38766-BC4E-EB55-A6C5-D64A39E1EA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20495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6A1BDB-9734-363B-B771-3357BF6CB4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637E03D-4FA7-EA03-183D-F233CBCE66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D7B1E3A-36B8-AFE3-73B4-9D72C41A1A3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64DCD83-29A6-1F98-748F-A9B379F05D9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78D76EB-FE07-76A6-42AE-A2ACCD820DB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422E05B-0AE7-F6C9-E257-67D14B8C59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11.08.2022</a:t>
            </a:fld>
            <a:endParaRPr lang="de-D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BCE838C-DF8D-D982-E167-31E177D1D8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0DE8D59-A29B-A5E7-7A3F-7EC261E726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01127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961890-C2FB-FEEF-859C-EB6008015B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779DCEB-D334-E5FD-FC53-D095C81FF1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11.08.2022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75C07D-356B-30E1-4AFA-3E170F98D6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3E9810-307F-63C5-A0D1-680AA279C2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38313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55B8691-FC2B-84F5-8B59-68917A3475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11.08.2022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021F98C-AB0D-9C8B-7A2B-66D88D3940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CE60C2-12EF-842C-E949-82CD86DE77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726356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207DB9-773A-4EEF-FB4B-244B1C76AB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DC1E63-F6DA-C877-4282-7241BF9210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C815BA-462F-79CE-5CC3-745E1A71626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1249813-D163-CE51-4A61-2C9C87CE06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11.08.2022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AEE1AC8-AE64-F000-A849-259AEA0859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BD7DE33-9EC9-3FC1-E331-68F67E4909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37093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E481BC-5402-588F-50B2-D43467FC61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90D0408-8CFC-B050-4848-6AD9B72F767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C5BB456-F1A3-B0FC-65EC-D7F9CAB90A8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1A6F8E2-2352-2070-C9A1-A232132B6A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11.08.2022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4E2EE12-5500-3AFF-9426-34C9FB20DA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54F114C-921A-9CED-8878-1AF300D804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719515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5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AC38531-CADC-3F0D-ACD2-DF123A484B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3B7DA78-C251-0796-4A44-DC43BA0251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A606BE-CCA0-2A16-A728-9C9D09D5B0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1C2E7F-BF1C-4FE7-8AE3-D4B7526D0C57}" type="datetimeFigureOut">
              <a:rPr lang="de-DE" smtClean="0"/>
              <a:t>11.08.2022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EC5F44-EDCB-2AF6-9BDF-AFFC78AEE73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177917-B874-F85F-7C20-07741B1140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509259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S Action title Placeholder"/>
          <p:cNvSpPr>
            <a:spLocks noGrp="1"/>
          </p:cNvSpPr>
          <p:nvPr>
            <p:ph type="title"/>
          </p:nvPr>
        </p:nvSpPr>
        <p:spPr>
          <a:xfrm>
            <a:off x="550800" y="316800"/>
            <a:ext cx="9468000" cy="113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.</a:t>
            </a:r>
          </a:p>
        </p:txBody>
      </p:sp>
      <p:sp>
        <p:nvSpPr>
          <p:cNvPr id="3" name="CS Body text Placeholder"/>
          <p:cNvSpPr>
            <a:spLocks noGrp="1"/>
          </p:cNvSpPr>
          <p:nvPr>
            <p:ph type="body" idx="1"/>
          </p:nvPr>
        </p:nvSpPr>
        <p:spPr>
          <a:xfrm>
            <a:off x="550801" y="1728000"/>
            <a:ext cx="8282050" cy="4500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CS Slide no."/>
          <p:cNvSpPr txBox="1"/>
          <p:nvPr userDrawn="1"/>
        </p:nvSpPr>
        <p:spPr>
          <a:xfrm>
            <a:off x="205242" y="6505200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spcBef>
                <a:spcPts val="600"/>
              </a:spcBef>
            </a:pPr>
            <a:fld id="{54A7AD75-56BC-4298-85D2-E4234A624E7F}" type="slidenum">
              <a:rPr lang="de-DE" sz="900" b="1" smtClean="0">
                <a:solidFill>
                  <a:schemeClr val="tx2"/>
                </a:solidFill>
                <a:latin typeface="+mn-lt"/>
              </a:rPr>
              <a:pPr algn="r">
                <a:spcBef>
                  <a:spcPts val="600"/>
                </a:spcBef>
              </a:pPr>
              <a:t>‹#›</a:t>
            </a:fld>
            <a:r>
              <a:rPr lang="de-DE" sz="900" b="1">
                <a:solidFill>
                  <a:schemeClr val="tx2"/>
                </a:solidFill>
                <a:latin typeface="+mn-lt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74263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</p:sldLayoutIdLst>
  <p:hf hdr="0" dt="0"/>
  <p:txStyles>
    <p:titleStyle>
      <a:lvl1pPr algn="l" defTabSz="914411" rtl="0" eaLnBrk="1" latinLnBrk="0" hangingPunct="1">
        <a:lnSpc>
          <a:spcPct val="100000"/>
        </a:lnSpc>
        <a:spcBef>
          <a:spcPct val="0"/>
        </a:spcBef>
        <a:buNone/>
        <a:defRPr sz="3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82566" indent="-182566" algn="l" defTabSz="914411" rtl="0" eaLnBrk="1" latinLnBrk="0" hangingPunct="1">
        <a:lnSpc>
          <a:spcPct val="112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06405" indent="-223841" algn="l" defTabSz="914411" rtl="0" eaLnBrk="1" latinLnBrk="0" hangingPunct="1">
        <a:lnSpc>
          <a:spcPct val="112000"/>
        </a:lnSpc>
        <a:spcBef>
          <a:spcPts val="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30246" indent="-223841" algn="l" defTabSz="914411" rtl="0" eaLnBrk="1" latinLnBrk="0" hangingPunct="1">
        <a:lnSpc>
          <a:spcPct val="112000"/>
        </a:lnSpc>
        <a:spcBef>
          <a:spcPts val="0"/>
        </a:spcBef>
        <a:spcAft>
          <a:spcPts val="600"/>
        </a:spcAft>
        <a:buClr>
          <a:schemeClr val="accent3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54086" indent="-223841" algn="l" defTabSz="914411" rtl="0" eaLnBrk="1" latinLnBrk="0" hangingPunct="1">
        <a:lnSpc>
          <a:spcPct val="112000"/>
        </a:lnSpc>
        <a:spcBef>
          <a:spcPts val="0"/>
        </a:spcBef>
        <a:spcAft>
          <a:spcPts val="600"/>
        </a:spcAft>
        <a:buClr>
          <a:schemeClr val="accent3"/>
        </a:buClr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76339" indent="-212728" algn="l" defTabSz="914411" rtl="0" eaLnBrk="1" latinLnBrk="0" hangingPunct="1">
        <a:lnSpc>
          <a:spcPct val="112000"/>
        </a:lnSpc>
        <a:spcBef>
          <a:spcPts val="0"/>
        </a:spcBef>
        <a:spcAft>
          <a:spcPts val="600"/>
        </a:spcAft>
        <a:buClr>
          <a:schemeClr val="accent3"/>
        </a:buClr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32" indent="-228603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37" indent="-228603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43" indent="-228603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48" indent="-228603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6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1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7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23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29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34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40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46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17">
          <p15:clr>
            <a:srgbClr val="F26B43"/>
          </p15:clr>
        </p15:guide>
        <p15:guide id="2" pos="9892">
          <p15:clr>
            <a:srgbClr val="F26B43"/>
          </p15:clr>
        </p15:guide>
        <p15:guide id="3" orient="horz" pos="628">
          <p15:clr>
            <a:srgbClr val="F26B43"/>
          </p15:clr>
        </p15:guide>
        <p15:guide id="4" orient="horz" pos="2197">
          <p15:clr>
            <a:srgbClr val="F26B43"/>
          </p15:clr>
        </p15:guide>
        <p15:guide id="5" pos="1303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S Action title Placeholder"/>
          <p:cNvSpPr>
            <a:spLocks noGrp="1"/>
          </p:cNvSpPr>
          <p:nvPr>
            <p:ph type="title"/>
          </p:nvPr>
        </p:nvSpPr>
        <p:spPr>
          <a:xfrm>
            <a:off x="550800" y="316800"/>
            <a:ext cx="9468000" cy="113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insert action title.</a:t>
            </a:r>
            <a:endParaRPr lang="de-DE"/>
          </a:p>
        </p:txBody>
      </p:sp>
      <p:sp>
        <p:nvSpPr>
          <p:cNvPr id="3" name="CS Body text Placeholder"/>
          <p:cNvSpPr>
            <a:spLocks noGrp="1"/>
          </p:cNvSpPr>
          <p:nvPr>
            <p:ph type="body" idx="1"/>
          </p:nvPr>
        </p:nvSpPr>
        <p:spPr>
          <a:xfrm>
            <a:off x="550800" y="1728000"/>
            <a:ext cx="8282050" cy="4500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en-US" noProof="0"/>
              <a:t>Click to inser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CS Slide no.">
            <a:extLst>
              <a:ext uri="{FF2B5EF4-FFF2-40B4-BE49-F238E27FC236}">
                <a16:creationId xmlns:a16="http://schemas.microsoft.com/office/drawing/2014/main" id="{F13A66FE-793A-4D2F-B8D6-BBEFE3DF05A2}"/>
              </a:ext>
            </a:extLst>
          </p:cNvPr>
          <p:cNvSpPr txBox="1"/>
          <p:nvPr userDrawn="1"/>
        </p:nvSpPr>
        <p:spPr>
          <a:xfrm>
            <a:off x="11327265" y="6437959"/>
            <a:ext cx="451411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spcBef>
                <a:spcPts val="600"/>
              </a:spcBef>
            </a:pPr>
            <a:fld id="{54A7AD75-56BC-4298-85D2-E4234A624E7F}" type="slidenum">
              <a:rPr lang="de-DE" sz="900" b="1" smtClean="0">
                <a:solidFill>
                  <a:schemeClr val="tx2"/>
                </a:solidFill>
                <a:latin typeface="+mn-lt"/>
              </a:rPr>
              <a:pPr algn="r">
                <a:spcBef>
                  <a:spcPts val="600"/>
                </a:spcBef>
              </a:pPr>
              <a:t>‹#›</a:t>
            </a:fld>
            <a:r>
              <a:rPr lang="de-DE" sz="900" b="1">
                <a:solidFill>
                  <a:schemeClr val="tx2"/>
                </a:solidFill>
                <a:latin typeface="+mn-lt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749742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</p:sldLayoutIdLst>
  <p:hf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112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06400" indent="-223838" algn="l" defTabSz="914400" rtl="0" eaLnBrk="1" latinLnBrk="0" hangingPunct="1">
        <a:lnSpc>
          <a:spcPct val="112000"/>
        </a:lnSpc>
        <a:spcBef>
          <a:spcPts val="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30238" indent="-223838" algn="l" defTabSz="914400" rtl="0" eaLnBrk="1" latinLnBrk="0" hangingPunct="1">
        <a:lnSpc>
          <a:spcPct val="112000"/>
        </a:lnSpc>
        <a:spcBef>
          <a:spcPts val="0"/>
        </a:spcBef>
        <a:spcAft>
          <a:spcPts val="600"/>
        </a:spcAft>
        <a:buClr>
          <a:schemeClr val="accent3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54075" indent="-223838" algn="l" defTabSz="914400" rtl="0" eaLnBrk="1" latinLnBrk="0" hangingPunct="1">
        <a:lnSpc>
          <a:spcPct val="112000"/>
        </a:lnSpc>
        <a:spcBef>
          <a:spcPts val="0"/>
        </a:spcBef>
        <a:spcAft>
          <a:spcPts val="600"/>
        </a:spcAft>
        <a:buClr>
          <a:schemeClr val="accent3"/>
        </a:buClr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76325" indent="-212725" algn="l" defTabSz="914400" rtl="0" eaLnBrk="1" latinLnBrk="0" hangingPunct="1">
        <a:lnSpc>
          <a:spcPct val="112000"/>
        </a:lnSpc>
        <a:spcBef>
          <a:spcPts val="0"/>
        </a:spcBef>
        <a:spcAft>
          <a:spcPts val="600"/>
        </a:spcAft>
        <a:buClr>
          <a:schemeClr val="accent3"/>
        </a:buClr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7">
          <p15:clr>
            <a:srgbClr val="F26B43"/>
          </p15:clr>
        </p15:guide>
        <p15:guide id="2" pos="5564">
          <p15:clr>
            <a:srgbClr val="F26B43"/>
          </p15:clr>
        </p15:guide>
        <p15:guide id="3" orient="horz" pos="1117">
          <p15:clr>
            <a:srgbClr val="F26B43"/>
          </p15:clr>
        </p15:guide>
        <p15:guide id="4" orient="horz" pos="3906">
          <p15:clr>
            <a:srgbClr val="F26B43"/>
          </p15:clr>
        </p15:guide>
        <p15:guide id="5" pos="733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25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12" Type="http://schemas.openxmlformats.org/officeDocument/2006/relationships/image" Target="../media/image2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8.png"/><Relationship Id="rId11" Type="http://schemas.openxmlformats.org/officeDocument/2006/relationships/image" Target="../media/image23.png"/><Relationship Id="rId5" Type="http://schemas.openxmlformats.org/officeDocument/2006/relationships/image" Target="../media/image17.png"/><Relationship Id="rId10" Type="http://schemas.openxmlformats.org/officeDocument/2006/relationships/image" Target="../media/image22.png"/><Relationship Id="rId4" Type="http://schemas.openxmlformats.org/officeDocument/2006/relationships/image" Target="../media/image16.png"/><Relationship Id="rId9" Type="http://schemas.openxmlformats.org/officeDocument/2006/relationships/image" Target="../media/image21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10" Type="http://schemas.openxmlformats.org/officeDocument/2006/relationships/image" Target="../media/image33.png"/><Relationship Id="rId4" Type="http://schemas.openxmlformats.org/officeDocument/2006/relationships/image" Target="../media/image27.png"/><Relationship Id="rId9" Type="http://schemas.openxmlformats.org/officeDocument/2006/relationships/image" Target="../media/image3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7" Type="http://schemas.openxmlformats.org/officeDocument/2006/relationships/hyperlink" Target="https://huggingface.co/docs/transformers/model_doc/bart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38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4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4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4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4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4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48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48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52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54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9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9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jpeg"/><Relationship Id="rId1" Type="http://schemas.openxmlformats.org/officeDocument/2006/relationships/slideLayout" Target="../slideLayouts/slideLayout1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59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64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9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9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68.png"/><Relationship Id="rId5" Type="http://schemas.openxmlformats.org/officeDocument/2006/relationships/image" Target="../media/image67.png"/><Relationship Id="rId4" Type="http://schemas.openxmlformats.org/officeDocument/2006/relationships/image" Target="../media/image66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png"/><Relationship Id="rId3" Type="http://schemas.openxmlformats.org/officeDocument/2006/relationships/tags" Target="../tags/tag6.xml"/><Relationship Id="rId7" Type="http://schemas.openxmlformats.org/officeDocument/2006/relationships/image" Target="../media/image71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70.pn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.xml"/><Relationship Id="rId9" Type="http://schemas.openxmlformats.org/officeDocument/2006/relationships/image" Target="../media/image7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7" Type="http://schemas.openxmlformats.org/officeDocument/2006/relationships/chart" Target="../charts/chart5.xml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3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DDB04E-7301-B502-6A44-EFC6D7440E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2094271"/>
            <a:ext cx="6430103" cy="1334729"/>
          </a:xfrm>
        </p:spPr>
        <p:txBody>
          <a:bodyPr/>
          <a:lstStyle/>
          <a:p>
            <a:r>
              <a:rPr lang="en-GB" dirty="0"/>
              <a:t>Medication Review</a:t>
            </a:r>
            <a:br>
              <a:rPr lang="en-GB" dirty="0"/>
            </a:br>
            <a:r>
              <a:rPr lang="en-GB" b="0" dirty="0"/>
              <a:t>Market Analysis for Osteoporosis</a:t>
            </a:r>
          </a:p>
        </p:txBody>
      </p:sp>
    </p:spTree>
    <p:extLst>
      <p:ext uri="{BB962C8B-B14F-4D97-AF65-F5344CB8AC3E}">
        <p14:creationId xmlns:p14="http://schemas.microsoft.com/office/powerpoint/2010/main" val="36402780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A0D5E8-8A65-490A-9810-5C6E331C09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812399" cy="1134000"/>
          </a:xfrm>
        </p:spPr>
        <p:txBody>
          <a:bodyPr/>
          <a:lstStyle/>
          <a:p>
            <a:r>
              <a:rPr lang="en-US" dirty="0"/>
              <a:t>Approach and Methodology</a:t>
            </a:r>
            <a:endParaRPr lang="en-US" b="0" dirty="0"/>
          </a:p>
        </p:txBody>
      </p:sp>
      <p:sp>
        <p:nvSpPr>
          <p:cNvPr id="199" name="TextBox 198">
            <a:extLst>
              <a:ext uri="{FF2B5EF4-FFF2-40B4-BE49-F238E27FC236}">
                <a16:creationId xmlns:a16="http://schemas.microsoft.com/office/drawing/2014/main" id="{50D6F1B9-854A-458F-8035-79F1866318F1}"/>
              </a:ext>
            </a:extLst>
          </p:cNvPr>
          <p:cNvSpPr txBox="1"/>
          <p:nvPr/>
        </p:nvSpPr>
        <p:spPr>
          <a:xfrm>
            <a:off x="1095916" y="2059701"/>
            <a:ext cx="452368" cy="1107996"/>
          </a:xfrm>
          <a:prstGeom prst="rect">
            <a:avLst/>
          </a:prstGeom>
          <a:noFill/>
          <a:ln>
            <a:noFill/>
          </a:ln>
        </p:spPr>
        <p:txBody>
          <a:bodyPr wrap="none" rtlCol="0" anchor="ctr" anchorCtr="0">
            <a:spAutoFit/>
          </a:bodyPr>
          <a:lstStyle/>
          <a:p>
            <a:pPr algn="just"/>
            <a:r>
              <a:rPr lang="en-US" sz="6600" b="1" dirty="0">
                <a:solidFill>
                  <a:schemeClr val="accent1"/>
                </a:solidFill>
                <a:latin typeface="+mj-lt"/>
                <a:ea typeface="League Spartan" charset="0"/>
                <a:cs typeface="Poppins" pitchFamily="2" charset="77"/>
              </a:rPr>
              <a:t>I</a:t>
            </a:r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292841D7-23AB-4A59-9F37-4561DD7F57ED}"/>
              </a:ext>
            </a:extLst>
          </p:cNvPr>
          <p:cNvSpPr txBox="1"/>
          <p:nvPr/>
        </p:nvSpPr>
        <p:spPr>
          <a:xfrm>
            <a:off x="2135777" y="2429033"/>
            <a:ext cx="3100461" cy="369332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  <a:latin typeface="+mj-lt"/>
                <a:ea typeface="League Spartan" charset="0"/>
                <a:cs typeface="Poppins" pitchFamily="2" charset="77"/>
              </a:rPr>
              <a:t>Data Analytics</a:t>
            </a:r>
          </a:p>
        </p:txBody>
      </p:sp>
      <p:sp>
        <p:nvSpPr>
          <p:cNvPr id="201" name="Rectangle 15">
            <a:extLst>
              <a:ext uri="{FF2B5EF4-FFF2-40B4-BE49-F238E27FC236}">
                <a16:creationId xmlns:a16="http://schemas.microsoft.com/office/drawing/2014/main" id="{53119D67-75EC-43A5-9558-0AAFA21B8677}"/>
              </a:ext>
            </a:extLst>
          </p:cNvPr>
          <p:cNvSpPr/>
          <p:nvPr/>
        </p:nvSpPr>
        <p:spPr bwMode="auto">
          <a:xfrm>
            <a:off x="5248422" y="1602280"/>
            <a:ext cx="5486400" cy="202284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tIns="72000" rIns="72000" bIns="72000" rtlCol="0" anchor="ctr">
            <a:spAutoFit/>
          </a:bodyPr>
          <a:lstStyle/>
          <a:p>
            <a:pPr algn="just">
              <a:spcAft>
                <a:spcPts val="600"/>
              </a:spcAft>
              <a:defRPr/>
            </a:pPr>
            <a:r>
              <a:rPr lang="en-US" sz="1600" b="1" i="1" dirty="0">
                <a:solidFill>
                  <a:schemeClr val="bg1">
                    <a:lumMod val="75000"/>
                  </a:schemeClr>
                </a:solidFill>
                <a:sym typeface="Wingdings" panose="05000000000000000000" pitchFamily="2" charset="2"/>
              </a:rPr>
              <a:t>Which drugs are leading the market?</a:t>
            </a:r>
            <a:endParaRPr lang="en-US" sz="1600" b="1" dirty="0">
              <a:solidFill>
                <a:schemeClr val="bg1">
                  <a:lumMod val="75000"/>
                </a:schemeClr>
              </a:solidFill>
            </a:endParaRPr>
          </a:p>
          <a:p>
            <a:pPr algn="just">
              <a:defRPr/>
            </a:pPr>
            <a:r>
              <a:rPr lang="en-US" sz="1600" dirty="0">
                <a:solidFill>
                  <a:schemeClr val="bg1">
                    <a:lumMod val="75000"/>
                  </a:schemeClr>
                </a:solidFill>
              </a:rPr>
              <a:t>Analyze current market data to identify the most prescribed drugs to treat osteoporosis.</a:t>
            </a:r>
          </a:p>
          <a:p>
            <a:pPr algn="just">
              <a:defRPr/>
            </a:pPr>
            <a:endParaRPr lang="en-US" sz="1600" dirty="0">
              <a:solidFill>
                <a:schemeClr val="bg1">
                  <a:lumMod val="75000"/>
                </a:schemeClr>
              </a:solidFill>
            </a:endParaRPr>
          </a:p>
          <a:p>
            <a:pPr algn="just">
              <a:spcAft>
                <a:spcPts val="600"/>
              </a:spcAft>
              <a:defRPr/>
            </a:pPr>
            <a:r>
              <a:rPr lang="en-US" sz="1600" b="1" i="1" dirty="0">
                <a:solidFill>
                  <a:schemeClr val="bg1">
                    <a:lumMod val="75000"/>
                  </a:schemeClr>
                </a:solidFill>
                <a:sym typeface="Wingdings" panose="05000000000000000000" pitchFamily="2" charset="2"/>
              </a:rPr>
              <a:t>Who are the target demographics?</a:t>
            </a:r>
            <a:endParaRPr lang="en-US" sz="1600" b="1" dirty="0">
              <a:solidFill>
                <a:schemeClr val="bg1">
                  <a:lumMod val="75000"/>
                </a:schemeClr>
              </a:solidFill>
            </a:endParaRPr>
          </a:p>
          <a:p>
            <a:pPr algn="just">
              <a:defRPr/>
            </a:pPr>
            <a:r>
              <a:rPr lang="en-US" sz="1600" dirty="0">
                <a:solidFill>
                  <a:schemeClr val="bg1">
                    <a:lumMod val="75000"/>
                  </a:schemeClr>
                </a:solidFill>
              </a:rPr>
              <a:t>Analyze current market data to identify the demographics of the users.</a:t>
            </a:r>
          </a:p>
        </p:txBody>
      </p:sp>
      <p:cxnSp>
        <p:nvCxnSpPr>
          <p:cNvPr id="202" name="Gerade Verbindung 49">
            <a:extLst>
              <a:ext uri="{FF2B5EF4-FFF2-40B4-BE49-F238E27FC236}">
                <a16:creationId xmlns:a16="http://schemas.microsoft.com/office/drawing/2014/main" id="{2B53E5C9-98AB-4402-A39A-B60EBD3EBBAB}"/>
              </a:ext>
            </a:extLst>
          </p:cNvPr>
          <p:cNvCxnSpPr>
            <a:cxnSpLocks/>
          </p:cNvCxnSpPr>
          <p:nvPr/>
        </p:nvCxnSpPr>
        <p:spPr bwMode="gray">
          <a:xfrm flipV="1">
            <a:off x="4910356" y="1591410"/>
            <a:ext cx="0" cy="2116540"/>
          </a:xfrm>
          <a:prstGeom prst="line">
            <a:avLst/>
          </a:prstGeom>
          <a:ln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4" name="TextBox 203">
            <a:extLst>
              <a:ext uri="{FF2B5EF4-FFF2-40B4-BE49-F238E27FC236}">
                <a16:creationId xmlns:a16="http://schemas.microsoft.com/office/drawing/2014/main" id="{798C67FC-3B74-4F40-BE84-A63875D21961}"/>
              </a:ext>
            </a:extLst>
          </p:cNvPr>
          <p:cNvSpPr txBox="1"/>
          <p:nvPr/>
        </p:nvSpPr>
        <p:spPr>
          <a:xfrm>
            <a:off x="962069" y="4525817"/>
            <a:ext cx="720069" cy="1107996"/>
          </a:xfrm>
          <a:prstGeom prst="rect">
            <a:avLst/>
          </a:prstGeom>
          <a:noFill/>
          <a:ln>
            <a:noFill/>
          </a:ln>
        </p:spPr>
        <p:txBody>
          <a:bodyPr wrap="none" rtlCol="0" anchor="ctr" anchorCtr="0">
            <a:spAutoFit/>
          </a:bodyPr>
          <a:lstStyle/>
          <a:p>
            <a:pPr algn="just"/>
            <a:r>
              <a:rPr lang="en-US" sz="6600" b="1" dirty="0">
                <a:solidFill>
                  <a:schemeClr val="accent1"/>
                </a:solidFill>
                <a:latin typeface="+mj-lt"/>
                <a:ea typeface="League Spartan" charset="0"/>
                <a:cs typeface="Poppins" pitchFamily="2" charset="77"/>
              </a:rPr>
              <a:t>II</a:t>
            </a:r>
          </a:p>
        </p:txBody>
      </p:sp>
      <p:sp>
        <p:nvSpPr>
          <p:cNvPr id="205" name="TextBox 204">
            <a:extLst>
              <a:ext uri="{FF2B5EF4-FFF2-40B4-BE49-F238E27FC236}">
                <a16:creationId xmlns:a16="http://schemas.microsoft.com/office/drawing/2014/main" id="{B23BA648-DBE6-43E1-A7DD-05A2702C0810}"/>
              </a:ext>
            </a:extLst>
          </p:cNvPr>
          <p:cNvSpPr txBox="1"/>
          <p:nvPr/>
        </p:nvSpPr>
        <p:spPr>
          <a:xfrm>
            <a:off x="2080358" y="4884183"/>
            <a:ext cx="3301047" cy="369332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  <a:latin typeface="+mj-lt"/>
                <a:ea typeface="League Spartan" charset="0"/>
                <a:cs typeface="Poppins" pitchFamily="2" charset="77"/>
              </a:rPr>
              <a:t>Language Model</a:t>
            </a:r>
          </a:p>
        </p:txBody>
      </p:sp>
      <p:cxnSp>
        <p:nvCxnSpPr>
          <p:cNvPr id="207" name="Gerade Verbindung 49">
            <a:extLst>
              <a:ext uri="{FF2B5EF4-FFF2-40B4-BE49-F238E27FC236}">
                <a16:creationId xmlns:a16="http://schemas.microsoft.com/office/drawing/2014/main" id="{3062B607-2C0B-4ABF-91B1-02AE2F34C7EE}"/>
              </a:ext>
            </a:extLst>
          </p:cNvPr>
          <p:cNvCxnSpPr>
            <a:cxnSpLocks/>
          </p:cNvCxnSpPr>
          <p:nvPr/>
        </p:nvCxnSpPr>
        <p:spPr bwMode="gray">
          <a:xfrm flipV="1">
            <a:off x="4910356" y="4114798"/>
            <a:ext cx="0" cy="2156714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5">
            <a:extLst>
              <a:ext uri="{FF2B5EF4-FFF2-40B4-BE49-F238E27FC236}">
                <a16:creationId xmlns:a16="http://schemas.microsoft.com/office/drawing/2014/main" id="{06B01316-BD49-D8D0-77D6-D36B5D58D50C}"/>
              </a:ext>
            </a:extLst>
          </p:cNvPr>
          <p:cNvSpPr/>
          <p:nvPr/>
        </p:nvSpPr>
        <p:spPr bwMode="auto">
          <a:xfrm>
            <a:off x="5236238" y="4702639"/>
            <a:ext cx="5486400" cy="96101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tIns="72000" rIns="72000" bIns="72000" rtlCol="0" anchor="ctr">
            <a:spAutoFit/>
          </a:bodyPr>
          <a:lstStyle/>
          <a:p>
            <a:pPr algn="just">
              <a:spcAft>
                <a:spcPts val="600"/>
              </a:spcAft>
              <a:defRPr/>
            </a:pPr>
            <a:r>
              <a:rPr lang="en-US" sz="1600" b="1" i="1" dirty="0">
                <a:solidFill>
                  <a:srgbClr val="333333"/>
                </a:solidFill>
                <a:sym typeface="Wingdings" panose="05000000000000000000" pitchFamily="2" charset="2"/>
              </a:rPr>
              <a:t>How can the client disrupt the market?</a:t>
            </a:r>
          </a:p>
          <a:p>
            <a:pPr>
              <a:spcAft>
                <a:spcPts val="600"/>
              </a:spcAft>
              <a:defRPr/>
            </a:pPr>
            <a:r>
              <a:rPr kumimoji="0" lang="en-US" sz="1600" u="none" strike="noStrike" kern="1200" cap="none" spc="0" normalizeH="0" baseline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  <a:sym typeface="Wingdings" panose="05000000000000000000" pitchFamily="2" charset="2"/>
              </a:rPr>
              <a:t>Analyze the medication reviews to understand what opportunities exists in the market.</a:t>
            </a:r>
          </a:p>
        </p:txBody>
      </p:sp>
    </p:spTree>
    <p:extLst>
      <p:ext uri="{BB962C8B-B14F-4D97-AF65-F5344CB8AC3E}">
        <p14:creationId xmlns:p14="http://schemas.microsoft.com/office/powerpoint/2010/main" val="376560218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I</a:t>
            </a:r>
            <a:r>
              <a:rPr lang="en-US" altLang="zh-CN" dirty="0"/>
              <a:t>ntroduction of Language Model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D0D7FFA-CAA5-731E-A6AC-446D19B339FE}"/>
              </a:ext>
            </a:extLst>
          </p:cNvPr>
          <p:cNvSpPr txBox="1"/>
          <p:nvPr/>
        </p:nvSpPr>
        <p:spPr>
          <a:xfrm>
            <a:off x="550799" y="1450800"/>
            <a:ext cx="4543715" cy="451751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Formal Language Models</a:t>
            </a: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Grammar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: a formal specification of the permissible structures for the languag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arsing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: the method of </a:t>
            </a:r>
            <a:r>
              <a:rPr kumimoji="0" lang="en-GB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nalyzing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the sentence to see if its structure is compliant with the grammar</a:t>
            </a: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tochastic Language Model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he probabilistic relationship among a sequence of words can be directly derived and </a:t>
            </a:r>
            <a:r>
              <a:rPr kumimoji="0" lang="en-GB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odeled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from the corpora with stochastic language model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6" name="Picture 5" descr="Text&#10;&#10;Description automatically generated">
            <a:extLst>
              <a:ext uri="{FF2B5EF4-FFF2-40B4-BE49-F238E27FC236}">
                <a16:creationId xmlns:a16="http://schemas.microsoft.com/office/drawing/2014/main" id="{D1306E54-7922-ECAA-99C0-D465E6C8B8B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3537" y="1644087"/>
            <a:ext cx="6741344" cy="4130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413241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/>
              <a:t>Application</a:t>
            </a:r>
            <a:r>
              <a:rPr lang="en-US" altLang="zh-CN"/>
              <a:t> of Language Model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D0D7FFA-CAA5-731E-A6AC-446D19B339FE}"/>
              </a:ext>
            </a:extLst>
          </p:cNvPr>
          <p:cNvSpPr txBox="1"/>
          <p:nvPr/>
        </p:nvSpPr>
        <p:spPr>
          <a:xfrm>
            <a:off x="463080" y="1184273"/>
            <a:ext cx="10618772" cy="45902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Language model is a major part of NLP and finds its use in a lot of plac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Tx/>
              <a:buNone/>
              <a:tabLst/>
              <a:defRPr/>
            </a:pP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Freeform 9">
            <a:extLst>
              <a:ext uri="{FF2B5EF4-FFF2-40B4-BE49-F238E27FC236}">
                <a16:creationId xmlns:a16="http://schemas.microsoft.com/office/drawing/2014/main" id="{419179F7-6B39-9960-460C-522803635745}"/>
              </a:ext>
            </a:extLst>
          </p:cNvPr>
          <p:cNvSpPr>
            <a:spLocks/>
          </p:cNvSpPr>
          <p:nvPr/>
        </p:nvSpPr>
        <p:spPr bwMode="auto">
          <a:xfrm>
            <a:off x="1" y="4260852"/>
            <a:ext cx="12212639" cy="2079625"/>
          </a:xfrm>
          <a:custGeom>
            <a:avLst/>
            <a:gdLst>
              <a:gd name="T0" fmla="*/ 0 w 7465"/>
              <a:gd name="T1" fmla="*/ 840 h 1269"/>
              <a:gd name="T2" fmla="*/ 2643 w 7465"/>
              <a:gd name="T3" fmla="*/ 1208 h 1269"/>
              <a:gd name="T4" fmla="*/ 3362 w 7465"/>
              <a:gd name="T5" fmla="*/ 1179 h 1269"/>
              <a:gd name="T6" fmla="*/ 4067 w 7465"/>
              <a:gd name="T7" fmla="*/ 1095 h 1269"/>
              <a:gd name="T8" fmla="*/ 7465 w 7465"/>
              <a:gd name="T9" fmla="*/ 0 h 1269"/>
              <a:gd name="T10" fmla="*/ 7463 w 7465"/>
              <a:gd name="T11" fmla="*/ 319 h 1269"/>
              <a:gd name="T12" fmla="*/ 4141 w 7465"/>
              <a:gd name="T13" fmla="*/ 1100 h 1269"/>
              <a:gd name="T14" fmla="*/ 2636 w 7465"/>
              <a:gd name="T15" fmla="*/ 1224 h 1269"/>
              <a:gd name="T16" fmla="*/ 0 w 7465"/>
              <a:gd name="T17" fmla="*/ 1060 h 1269"/>
              <a:gd name="T18" fmla="*/ 0 w 7465"/>
              <a:gd name="T19" fmla="*/ 840 h 1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7465" h="1269">
                <a:moveTo>
                  <a:pt x="0" y="840"/>
                </a:moveTo>
                <a:cubicBezTo>
                  <a:pt x="0" y="840"/>
                  <a:pt x="1464" y="1253"/>
                  <a:pt x="2643" y="1208"/>
                </a:cubicBezTo>
                <a:cubicBezTo>
                  <a:pt x="2794" y="1203"/>
                  <a:pt x="3031" y="1205"/>
                  <a:pt x="3362" y="1179"/>
                </a:cubicBezTo>
                <a:cubicBezTo>
                  <a:pt x="3564" y="1162"/>
                  <a:pt x="3811" y="1129"/>
                  <a:pt x="4067" y="1095"/>
                </a:cubicBezTo>
                <a:cubicBezTo>
                  <a:pt x="5961" y="837"/>
                  <a:pt x="7465" y="0"/>
                  <a:pt x="7465" y="0"/>
                </a:cubicBezTo>
                <a:cubicBezTo>
                  <a:pt x="7463" y="319"/>
                  <a:pt x="7463" y="319"/>
                  <a:pt x="7463" y="319"/>
                </a:cubicBezTo>
                <a:cubicBezTo>
                  <a:pt x="7463" y="319"/>
                  <a:pt x="6221" y="824"/>
                  <a:pt x="4141" y="1100"/>
                </a:cubicBezTo>
                <a:cubicBezTo>
                  <a:pt x="3753" y="1152"/>
                  <a:pt x="3069" y="1208"/>
                  <a:pt x="2636" y="1224"/>
                </a:cubicBezTo>
                <a:cubicBezTo>
                  <a:pt x="1457" y="1269"/>
                  <a:pt x="0" y="1060"/>
                  <a:pt x="0" y="1060"/>
                </a:cubicBezTo>
                <a:lnTo>
                  <a:pt x="0" y="84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8" name="Gerade Verbindung 33">
            <a:extLst>
              <a:ext uri="{FF2B5EF4-FFF2-40B4-BE49-F238E27FC236}">
                <a16:creationId xmlns:a16="http://schemas.microsoft.com/office/drawing/2014/main" id="{200CAC50-A31A-D02F-2D5B-DC5FA1B3CAF4}"/>
              </a:ext>
            </a:extLst>
          </p:cNvPr>
          <p:cNvCxnSpPr>
            <a:stCxn id="9" idx="4"/>
          </p:cNvCxnSpPr>
          <p:nvPr/>
        </p:nvCxnSpPr>
        <p:spPr>
          <a:xfrm flipH="1">
            <a:off x="1485900" y="3905251"/>
            <a:ext cx="14288" cy="211455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Ellipse 34">
            <a:extLst>
              <a:ext uri="{FF2B5EF4-FFF2-40B4-BE49-F238E27FC236}">
                <a16:creationId xmlns:a16="http://schemas.microsoft.com/office/drawing/2014/main" id="{B3BA9FD0-BBD1-7E8E-3A58-7383CD388471}"/>
              </a:ext>
            </a:extLst>
          </p:cNvPr>
          <p:cNvSpPr/>
          <p:nvPr/>
        </p:nvSpPr>
        <p:spPr>
          <a:xfrm>
            <a:off x="457200" y="1819275"/>
            <a:ext cx="2085976" cy="2085976"/>
          </a:xfrm>
          <a:prstGeom prst="ellipse">
            <a:avLst/>
          </a:prstGeom>
          <a:gradFill>
            <a:gsLst>
              <a:gs pos="50000">
                <a:schemeClr val="bg1">
                  <a:alpha val="80000"/>
                </a:schemeClr>
              </a:gs>
              <a:gs pos="100000">
                <a:schemeClr val="tx2">
                  <a:lumMod val="20000"/>
                  <a:lumOff val="80000"/>
                  <a:alpha val="80000"/>
                </a:schemeClr>
              </a:gs>
            </a:gsLst>
            <a:lin ang="5400000" scaled="0"/>
          </a:gradFill>
          <a:ln w="19050">
            <a:solidFill>
              <a:schemeClr val="accent1"/>
            </a:solidFill>
          </a:ln>
          <a:effectLst>
            <a:glow rad="63500">
              <a:schemeClr val="accent3">
                <a:satMod val="175000"/>
                <a:alpha val="17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en-GB" sz="2000" b="1" i="0" u="none" strike="noStrike" kern="1200" cap="none" spc="0" normalizeH="0" baseline="0" noProof="1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Picture 3">
            <a:extLst>
              <a:ext uri="{FF2B5EF4-FFF2-40B4-BE49-F238E27FC236}">
                <a16:creationId xmlns:a16="http://schemas.microsoft.com/office/drawing/2014/main" id="{EEFE2B76-F7F5-575D-63C1-1C0B357665B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2479" b="4930"/>
          <a:stretch/>
        </p:blipFill>
        <p:spPr>
          <a:xfrm>
            <a:off x="662186" y="2513932"/>
            <a:ext cx="1551623" cy="881637"/>
          </a:xfrm>
          <a:prstGeom prst="rect">
            <a:avLst/>
          </a:prstGeom>
        </p:spPr>
      </p:pic>
      <p:cxnSp>
        <p:nvCxnSpPr>
          <p:cNvPr id="11" name="Gerade Verbindung 38">
            <a:extLst>
              <a:ext uri="{FF2B5EF4-FFF2-40B4-BE49-F238E27FC236}">
                <a16:creationId xmlns:a16="http://schemas.microsoft.com/office/drawing/2014/main" id="{FFA9D811-3D93-A858-26BF-F3C2D73034CC}"/>
              </a:ext>
            </a:extLst>
          </p:cNvPr>
          <p:cNvCxnSpPr>
            <a:stCxn id="31" idx="4"/>
          </p:cNvCxnSpPr>
          <p:nvPr/>
        </p:nvCxnSpPr>
        <p:spPr>
          <a:xfrm>
            <a:off x="2986088" y="4552952"/>
            <a:ext cx="0" cy="167640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llipse 42">
            <a:extLst>
              <a:ext uri="{FF2B5EF4-FFF2-40B4-BE49-F238E27FC236}">
                <a16:creationId xmlns:a16="http://schemas.microsoft.com/office/drawing/2014/main" id="{D1D43A17-EC79-E6BF-D542-008AEC84BE0E}"/>
              </a:ext>
            </a:extLst>
          </p:cNvPr>
          <p:cNvSpPr/>
          <p:nvPr/>
        </p:nvSpPr>
        <p:spPr>
          <a:xfrm>
            <a:off x="3815583" y="1981200"/>
            <a:ext cx="2238376" cy="2238376"/>
          </a:xfrm>
          <a:prstGeom prst="ellipse">
            <a:avLst/>
          </a:prstGeom>
          <a:gradFill>
            <a:gsLst>
              <a:gs pos="50000">
                <a:schemeClr val="bg1">
                  <a:alpha val="80000"/>
                </a:schemeClr>
              </a:gs>
              <a:gs pos="100000">
                <a:schemeClr val="tx2">
                  <a:lumMod val="20000"/>
                  <a:lumOff val="80000"/>
                  <a:alpha val="80000"/>
                </a:schemeClr>
              </a:gs>
            </a:gsLst>
            <a:lin ang="5400000" scaled="0"/>
          </a:gradFill>
          <a:ln w="19050">
            <a:solidFill>
              <a:schemeClr val="accent1"/>
            </a:solidFill>
          </a:ln>
          <a:effectLst>
            <a:glow rad="63500">
              <a:schemeClr val="accent3">
                <a:satMod val="175000"/>
                <a:alpha val="17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en-GB" sz="2000" b="1" i="0" u="none" strike="noStrike" kern="1200" cap="none" spc="0" normalizeH="0" baseline="0" noProof="1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3" name="Gerade Verbindung 43">
            <a:extLst>
              <a:ext uri="{FF2B5EF4-FFF2-40B4-BE49-F238E27FC236}">
                <a16:creationId xmlns:a16="http://schemas.microsoft.com/office/drawing/2014/main" id="{B9EFCD95-EB04-28A6-C7FA-3076E3E32CCA}"/>
              </a:ext>
            </a:extLst>
          </p:cNvPr>
          <p:cNvCxnSpPr>
            <a:stCxn id="12" idx="4"/>
          </p:cNvCxnSpPr>
          <p:nvPr/>
        </p:nvCxnSpPr>
        <p:spPr>
          <a:xfrm flipH="1">
            <a:off x="4929191" y="4219576"/>
            <a:ext cx="5580" cy="2004172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54">
            <a:extLst>
              <a:ext uri="{FF2B5EF4-FFF2-40B4-BE49-F238E27FC236}">
                <a16:creationId xmlns:a16="http://schemas.microsoft.com/office/drawing/2014/main" id="{AC4BFE0D-757B-1D6F-27DC-8FCBFF5CB6DF}"/>
              </a:ext>
            </a:extLst>
          </p:cNvPr>
          <p:cNvCxnSpPr>
            <a:stCxn id="15" idx="4"/>
          </p:cNvCxnSpPr>
          <p:nvPr/>
        </p:nvCxnSpPr>
        <p:spPr>
          <a:xfrm>
            <a:off x="6749576" y="4466795"/>
            <a:ext cx="0" cy="1590675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Ellipse 55">
            <a:extLst>
              <a:ext uri="{FF2B5EF4-FFF2-40B4-BE49-F238E27FC236}">
                <a16:creationId xmlns:a16="http://schemas.microsoft.com/office/drawing/2014/main" id="{757DF282-04AB-B3B6-1055-64F9C2B8E2BC}"/>
              </a:ext>
            </a:extLst>
          </p:cNvPr>
          <p:cNvSpPr/>
          <p:nvPr/>
        </p:nvSpPr>
        <p:spPr>
          <a:xfrm>
            <a:off x="5682776" y="2333195"/>
            <a:ext cx="2133600" cy="2133600"/>
          </a:xfrm>
          <a:prstGeom prst="ellipse">
            <a:avLst/>
          </a:prstGeom>
          <a:gradFill>
            <a:gsLst>
              <a:gs pos="50000">
                <a:schemeClr val="bg1">
                  <a:alpha val="80000"/>
                </a:schemeClr>
              </a:gs>
              <a:gs pos="100000">
                <a:schemeClr val="tx2">
                  <a:lumMod val="20000"/>
                  <a:lumOff val="80000"/>
                  <a:alpha val="80000"/>
                </a:schemeClr>
              </a:gs>
            </a:gsLst>
            <a:lin ang="5400000" scaled="0"/>
          </a:gradFill>
          <a:ln w="19050">
            <a:solidFill>
              <a:schemeClr val="accent1"/>
            </a:solidFill>
          </a:ln>
          <a:effectLst>
            <a:glow rad="63500">
              <a:schemeClr val="accent3">
                <a:satMod val="175000"/>
                <a:alpha val="17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en-GB" sz="2000" b="1" i="0" u="none" strike="noStrike" kern="1200" cap="none" spc="0" normalizeH="0" baseline="0" noProof="1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6" name="Gerade Verbindung 66">
            <a:extLst>
              <a:ext uri="{FF2B5EF4-FFF2-40B4-BE49-F238E27FC236}">
                <a16:creationId xmlns:a16="http://schemas.microsoft.com/office/drawing/2014/main" id="{6C9A75DE-A0B7-7C6A-0327-17F609DF6C05}"/>
              </a:ext>
            </a:extLst>
          </p:cNvPr>
          <p:cNvCxnSpPr>
            <a:stCxn id="17" idx="4"/>
          </p:cNvCxnSpPr>
          <p:nvPr/>
        </p:nvCxnSpPr>
        <p:spPr>
          <a:xfrm>
            <a:off x="8667751" y="4038600"/>
            <a:ext cx="0" cy="1666875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Ellipse 67">
            <a:extLst>
              <a:ext uri="{FF2B5EF4-FFF2-40B4-BE49-F238E27FC236}">
                <a16:creationId xmlns:a16="http://schemas.microsoft.com/office/drawing/2014/main" id="{DAD0D725-6EB2-23B9-FA01-5001B12E5AFE}"/>
              </a:ext>
            </a:extLst>
          </p:cNvPr>
          <p:cNvSpPr/>
          <p:nvPr/>
        </p:nvSpPr>
        <p:spPr>
          <a:xfrm>
            <a:off x="7677151" y="2057400"/>
            <a:ext cx="1981200" cy="1981200"/>
          </a:xfrm>
          <a:prstGeom prst="ellipse">
            <a:avLst/>
          </a:prstGeom>
          <a:gradFill>
            <a:gsLst>
              <a:gs pos="50000">
                <a:schemeClr val="bg1">
                  <a:alpha val="80000"/>
                </a:schemeClr>
              </a:gs>
              <a:gs pos="100000">
                <a:schemeClr val="tx2">
                  <a:lumMod val="20000"/>
                  <a:lumOff val="80000"/>
                  <a:alpha val="80000"/>
                </a:schemeClr>
              </a:gs>
            </a:gsLst>
            <a:lin ang="5400000" scaled="0"/>
          </a:gradFill>
          <a:ln w="19050">
            <a:solidFill>
              <a:schemeClr val="accent1"/>
            </a:solidFill>
          </a:ln>
          <a:effectLst>
            <a:glow rad="63500">
              <a:schemeClr val="accent3">
                <a:satMod val="175000"/>
                <a:alpha val="17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en-GB" sz="2000" b="1" i="0" u="none" strike="noStrike" kern="1200" cap="none" spc="0" normalizeH="0" baseline="0" noProof="1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8" name="Gerade Verbindung 68">
            <a:extLst>
              <a:ext uri="{FF2B5EF4-FFF2-40B4-BE49-F238E27FC236}">
                <a16:creationId xmlns:a16="http://schemas.microsoft.com/office/drawing/2014/main" id="{56421466-F5FE-C4AF-1D1F-530228E5F152}"/>
              </a:ext>
            </a:extLst>
          </p:cNvPr>
          <p:cNvCxnSpPr>
            <a:stCxn id="19" idx="4"/>
          </p:cNvCxnSpPr>
          <p:nvPr/>
        </p:nvCxnSpPr>
        <p:spPr>
          <a:xfrm flipH="1">
            <a:off x="10287000" y="3619500"/>
            <a:ext cx="14288" cy="1543051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llipse 69">
            <a:extLst>
              <a:ext uri="{FF2B5EF4-FFF2-40B4-BE49-F238E27FC236}">
                <a16:creationId xmlns:a16="http://schemas.microsoft.com/office/drawing/2014/main" id="{CA6E43DE-B96E-7568-CCFB-84D6C26EC780}"/>
              </a:ext>
            </a:extLst>
          </p:cNvPr>
          <p:cNvSpPr/>
          <p:nvPr/>
        </p:nvSpPr>
        <p:spPr>
          <a:xfrm>
            <a:off x="9372600" y="1762124"/>
            <a:ext cx="1857376" cy="1857376"/>
          </a:xfrm>
          <a:prstGeom prst="ellipse">
            <a:avLst/>
          </a:prstGeom>
          <a:gradFill>
            <a:gsLst>
              <a:gs pos="50000">
                <a:schemeClr val="bg1">
                  <a:alpha val="80000"/>
                </a:schemeClr>
              </a:gs>
              <a:gs pos="100000">
                <a:schemeClr val="tx2">
                  <a:lumMod val="20000"/>
                  <a:lumOff val="80000"/>
                  <a:alpha val="80000"/>
                </a:schemeClr>
              </a:gs>
            </a:gsLst>
            <a:lin ang="5400000" scaled="0"/>
          </a:gradFill>
          <a:ln w="19050">
            <a:solidFill>
              <a:schemeClr val="accent1"/>
            </a:solidFill>
          </a:ln>
          <a:effectLst>
            <a:glow rad="63500">
              <a:schemeClr val="accent3">
                <a:satMod val="175000"/>
                <a:alpha val="17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en-GB" sz="2000" b="1" i="0" u="none" strike="noStrike" kern="1200" cap="none" spc="0" normalizeH="0" baseline="0" noProof="1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2A5DB7F0-7629-2141-A853-EF949A201D26}"/>
              </a:ext>
            </a:extLst>
          </p:cNvPr>
          <p:cNvSpPr txBox="1">
            <a:spLocks/>
          </p:cNvSpPr>
          <p:nvPr/>
        </p:nvSpPr>
        <p:spPr>
          <a:xfrm>
            <a:off x="575609" y="1982917"/>
            <a:ext cx="1849159" cy="52322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sp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238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30238" indent="-2238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4075" indent="-2238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127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rgbClr val="008CAA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en-GB" sz="1700" b="1" i="0" u="none" strike="noStrike" kern="1200" cap="none" spc="0" normalizeH="0" baseline="0" noProof="1">
                <a:ln>
                  <a:noFill/>
                </a:ln>
                <a:solidFill>
                  <a:srgbClr val="007A94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entiment Analysis</a:t>
            </a:r>
          </a:p>
        </p:txBody>
      </p:sp>
      <p:sp>
        <p:nvSpPr>
          <p:cNvPr id="21" name="Inhaltsplatzhalter 2">
            <a:extLst>
              <a:ext uri="{FF2B5EF4-FFF2-40B4-BE49-F238E27FC236}">
                <a16:creationId xmlns:a16="http://schemas.microsoft.com/office/drawing/2014/main" id="{2E655458-33A3-AA7F-0E29-DAA036AF33A3}"/>
              </a:ext>
            </a:extLst>
          </p:cNvPr>
          <p:cNvSpPr txBox="1">
            <a:spLocks/>
          </p:cNvSpPr>
          <p:nvPr/>
        </p:nvSpPr>
        <p:spPr>
          <a:xfrm>
            <a:off x="4010192" y="2221473"/>
            <a:ext cx="1849159" cy="52322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sp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238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30238" indent="-2238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4075" indent="-2238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127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rgbClr val="008CAA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en-GB" sz="1700" b="1" i="0" u="none" strike="noStrike" kern="1200" cap="none" spc="0" normalizeH="0" baseline="0" noProof="1">
                <a:ln>
                  <a:noFill/>
                </a:ln>
                <a:solidFill>
                  <a:srgbClr val="007A94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Question Answering</a:t>
            </a:r>
          </a:p>
        </p:txBody>
      </p:sp>
      <p:sp>
        <p:nvSpPr>
          <p:cNvPr id="22" name="Inhaltsplatzhalter 2">
            <a:extLst>
              <a:ext uri="{FF2B5EF4-FFF2-40B4-BE49-F238E27FC236}">
                <a16:creationId xmlns:a16="http://schemas.microsoft.com/office/drawing/2014/main" id="{3CAFCA9F-C4CE-315D-F5C9-997E692B8947}"/>
              </a:ext>
            </a:extLst>
          </p:cNvPr>
          <p:cNvSpPr txBox="1">
            <a:spLocks/>
          </p:cNvSpPr>
          <p:nvPr/>
        </p:nvSpPr>
        <p:spPr>
          <a:xfrm>
            <a:off x="7734489" y="2236229"/>
            <a:ext cx="1849159" cy="52322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sp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238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30238" indent="-2238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4075" indent="-2238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127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rgbClr val="008CAA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en-GB" sz="1700" b="1" i="0" u="none" strike="noStrike" kern="1200" cap="none" spc="0" normalizeH="0" baseline="0" noProof="1">
                <a:ln>
                  <a:noFill/>
                </a:ln>
                <a:solidFill>
                  <a:srgbClr val="007A94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peech Recognization</a:t>
            </a:r>
          </a:p>
        </p:txBody>
      </p:sp>
      <p:sp>
        <p:nvSpPr>
          <p:cNvPr id="23" name="Inhaltsplatzhalter 2">
            <a:extLst>
              <a:ext uri="{FF2B5EF4-FFF2-40B4-BE49-F238E27FC236}">
                <a16:creationId xmlns:a16="http://schemas.microsoft.com/office/drawing/2014/main" id="{EB3F0246-B0A6-8C38-8B3A-B7A83528EA00}"/>
              </a:ext>
            </a:extLst>
          </p:cNvPr>
          <p:cNvSpPr txBox="1">
            <a:spLocks/>
          </p:cNvSpPr>
          <p:nvPr/>
        </p:nvSpPr>
        <p:spPr>
          <a:xfrm>
            <a:off x="5824996" y="2778359"/>
            <a:ext cx="1849159" cy="26161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sp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238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30238" indent="-2238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4075" indent="-2238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127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rgbClr val="008CAA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en-GB" sz="1700" b="1" i="0" u="none" strike="noStrike" kern="1200" cap="none" spc="0" normalizeH="0" baseline="0" noProof="1">
                <a:ln>
                  <a:noFill/>
                </a:ln>
                <a:solidFill>
                  <a:srgbClr val="007A94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ummarization</a:t>
            </a:r>
          </a:p>
        </p:txBody>
      </p:sp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0A841B85-0279-7834-6C38-960B6377321C}"/>
              </a:ext>
            </a:extLst>
          </p:cNvPr>
          <p:cNvSpPr txBox="1">
            <a:spLocks/>
          </p:cNvSpPr>
          <p:nvPr/>
        </p:nvSpPr>
        <p:spPr>
          <a:xfrm>
            <a:off x="9520725" y="1933576"/>
            <a:ext cx="1561127" cy="52322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wrap="square" lIns="0" tIns="0" rIns="0" bIns="0" rtlCol="0" anchor="t" anchorCtr="0">
            <a:sp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238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30238" indent="-2238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4075" indent="-2238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127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rgbClr val="008CAA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en-GB" sz="1700" b="1" i="0" u="none" strike="noStrike" kern="1200" cap="none" spc="0" normalizeH="0" baseline="0" noProof="1">
                <a:ln>
                  <a:noFill/>
                </a:ln>
                <a:solidFill>
                  <a:srgbClr val="007A94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Entity Recognition</a:t>
            </a:r>
          </a:p>
        </p:txBody>
      </p:sp>
      <p:pic>
        <p:nvPicPr>
          <p:cNvPr id="25" name="Grafik 135">
            <a:extLst>
              <a:ext uri="{FF2B5EF4-FFF2-40B4-BE49-F238E27FC236}">
                <a16:creationId xmlns:a16="http://schemas.microsoft.com/office/drawing/2014/main" id="{49557DCB-B778-F082-3950-670D37ECFE3C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9892909" y="2499335"/>
            <a:ext cx="816759" cy="816759"/>
          </a:xfrm>
          <a:prstGeom prst="rect">
            <a:avLst/>
          </a:prstGeom>
        </p:spPr>
      </p:pic>
      <p:pic>
        <p:nvPicPr>
          <p:cNvPr id="26" name="Grafik 137">
            <a:extLst>
              <a:ext uri="{FF2B5EF4-FFF2-40B4-BE49-F238E27FC236}">
                <a16:creationId xmlns:a16="http://schemas.microsoft.com/office/drawing/2014/main" id="{A5A0EE1F-8D81-E2E2-0A1C-51CD448012EB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8512215" y="3100388"/>
            <a:ext cx="651184" cy="651184"/>
          </a:xfrm>
          <a:prstGeom prst="rect">
            <a:avLst/>
          </a:prstGeom>
        </p:spPr>
      </p:pic>
      <p:pic>
        <p:nvPicPr>
          <p:cNvPr id="27" name="Grafik 136">
            <a:extLst>
              <a:ext uri="{FF2B5EF4-FFF2-40B4-BE49-F238E27FC236}">
                <a16:creationId xmlns:a16="http://schemas.microsoft.com/office/drawing/2014/main" id="{459C479A-8ECF-7E1E-6A06-B96735BD3048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8017248" y="2810590"/>
            <a:ext cx="567867" cy="567867"/>
          </a:xfrm>
          <a:prstGeom prst="rect">
            <a:avLst/>
          </a:prstGeom>
        </p:spPr>
      </p:pic>
      <p:pic>
        <p:nvPicPr>
          <p:cNvPr id="28" name="Grafik 135">
            <a:extLst>
              <a:ext uri="{FF2B5EF4-FFF2-40B4-BE49-F238E27FC236}">
                <a16:creationId xmlns:a16="http://schemas.microsoft.com/office/drawing/2014/main" id="{33AD6BF1-1A0E-0739-DCFB-24BE1CDE1630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6341197" y="3298703"/>
            <a:ext cx="816759" cy="816759"/>
          </a:xfrm>
          <a:prstGeom prst="rect">
            <a:avLst/>
          </a:prstGeom>
        </p:spPr>
      </p:pic>
      <p:pic>
        <p:nvPicPr>
          <p:cNvPr id="29" name="Picture 2">
            <a:extLst>
              <a:ext uri="{FF2B5EF4-FFF2-40B4-BE49-F238E27FC236}">
                <a16:creationId xmlns:a16="http://schemas.microsoft.com/office/drawing/2014/main" id="{CC91463F-12DF-BB0A-6EA9-1DE64EF28DCC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144297" y="2723356"/>
            <a:ext cx="1594180" cy="1204748"/>
          </a:xfrm>
          <a:prstGeom prst="rect">
            <a:avLst/>
          </a:prstGeom>
        </p:spPr>
      </p:pic>
      <p:grpSp>
        <p:nvGrpSpPr>
          <p:cNvPr id="30" name="Gruppieren 20">
            <a:extLst>
              <a:ext uri="{FF2B5EF4-FFF2-40B4-BE49-F238E27FC236}">
                <a16:creationId xmlns:a16="http://schemas.microsoft.com/office/drawing/2014/main" id="{C05D3D83-62EB-778D-7FB7-3B8CB3E94D42}"/>
              </a:ext>
            </a:extLst>
          </p:cNvPr>
          <p:cNvGrpSpPr/>
          <p:nvPr/>
        </p:nvGrpSpPr>
        <p:grpSpPr>
          <a:xfrm>
            <a:off x="2005012" y="2590800"/>
            <a:ext cx="1962152" cy="1962152"/>
            <a:chOff x="2005012" y="2590800"/>
            <a:chExt cx="1962152" cy="1962152"/>
          </a:xfrm>
        </p:grpSpPr>
        <p:sp>
          <p:nvSpPr>
            <p:cNvPr id="31" name="Ellipse 39">
              <a:extLst>
                <a:ext uri="{FF2B5EF4-FFF2-40B4-BE49-F238E27FC236}">
                  <a16:creationId xmlns:a16="http://schemas.microsoft.com/office/drawing/2014/main" id="{4D2A5CB2-5C50-4DCD-6BF5-5620198581E4}"/>
                </a:ext>
              </a:extLst>
            </p:cNvPr>
            <p:cNvSpPr/>
            <p:nvPr/>
          </p:nvSpPr>
          <p:spPr>
            <a:xfrm>
              <a:off x="2005012" y="2590800"/>
              <a:ext cx="1962152" cy="1962152"/>
            </a:xfrm>
            <a:prstGeom prst="ellipse">
              <a:avLst/>
            </a:prstGeom>
            <a:gradFill>
              <a:gsLst>
                <a:gs pos="50000">
                  <a:schemeClr val="bg1">
                    <a:alpha val="80000"/>
                  </a:schemeClr>
                </a:gs>
                <a:gs pos="100000">
                  <a:schemeClr val="tx2">
                    <a:lumMod val="20000"/>
                    <a:lumOff val="80000"/>
                    <a:alpha val="80000"/>
                  </a:schemeClr>
                </a:gs>
              </a:gsLst>
              <a:lin ang="5400000" scaled="0"/>
            </a:gradFill>
            <a:ln w="19050">
              <a:solidFill>
                <a:schemeClr val="accent1"/>
              </a:solidFill>
            </a:ln>
            <a:effectLst>
              <a:glow rad="63500">
                <a:schemeClr val="accent3">
                  <a:satMod val="175000"/>
                  <a:alpha val="17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endParaRPr kumimoji="0" lang="en-GB" sz="2000" b="1" i="0" u="none" strike="noStrike" kern="1200" cap="none" spc="0" normalizeH="0" baseline="0" noProof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" name="Inhaltsplatzhalter 2">
              <a:extLst>
                <a:ext uri="{FF2B5EF4-FFF2-40B4-BE49-F238E27FC236}">
                  <a16:creationId xmlns:a16="http://schemas.microsoft.com/office/drawing/2014/main" id="{089C92B6-16EF-C6E6-A20D-9ACA59E855EE}"/>
                </a:ext>
              </a:extLst>
            </p:cNvPr>
            <p:cNvSpPr txBox="1">
              <a:spLocks/>
            </p:cNvSpPr>
            <p:nvPr/>
          </p:nvSpPr>
          <p:spPr>
            <a:xfrm>
              <a:off x="2061509" y="2828933"/>
              <a:ext cx="1849159" cy="523220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lIns="0" tIns="0" rIns="0" bIns="0" rtlCol="0" anchor="t" anchorCtr="0">
              <a:spAutoFit/>
            </a:bodyPr>
            <a:lstStyle>
              <a:lvl1pPr marL="182563" indent="-182563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06400" indent="-2238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30238" indent="-2238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3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54075" indent="-2238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3"/>
                </a:buClr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76325" indent="-21272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3"/>
                </a:buClr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300"/>
                </a:spcAft>
                <a:buClr>
                  <a:srgbClr val="008CAA"/>
                </a:buClr>
                <a:buSzPct val="100000"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GB" sz="1700" b="1" i="0" u="none" strike="noStrike" kern="1200" cap="none" spc="0" normalizeH="0" baseline="0" noProof="1">
                  <a:ln>
                    <a:noFill/>
                  </a:ln>
                  <a:solidFill>
                    <a:srgbClr val="007A94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Machine Translation</a:t>
              </a:r>
            </a:p>
          </p:txBody>
        </p:sp>
        <p:sp>
          <p:nvSpPr>
            <p:cNvPr id="33" name="Halbbogen 106">
              <a:extLst>
                <a:ext uri="{FF2B5EF4-FFF2-40B4-BE49-F238E27FC236}">
                  <a16:creationId xmlns:a16="http://schemas.microsoft.com/office/drawing/2014/main" id="{7F382BA4-D03C-1EC0-F082-39F7D56C1E89}"/>
                </a:ext>
              </a:extLst>
            </p:cNvPr>
            <p:cNvSpPr/>
            <p:nvPr/>
          </p:nvSpPr>
          <p:spPr>
            <a:xfrm rot="12123258">
              <a:off x="2223509" y="2612624"/>
              <a:ext cx="1543826" cy="1655055"/>
            </a:xfrm>
            <a:prstGeom prst="blockArc">
              <a:avLst>
                <a:gd name="adj1" fmla="val 9776750"/>
                <a:gd name="adj2" fmla="val 20047830"/>
                <a:gd name="adj3" fmla="val 1554"/>
              </a:avLst>
            </a:prstGeom>
            <a:solidFill>
              <a:schemeClr val="accent1"/>
            </a:soli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" name="Freeform 14">
              <a:extLst>
                <a:ext uri="{FF2B5EF4-FFF2-40B4-BE49-F238E27FC236}">
                  <a16:creationId xmlns:a16="http://schemas.microsoft.com/office/drawing/2014/main" id="{16935CB0-3115-C082-AB70-A3AB6B643F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2407" y="3678498"/>
              <a:ext cx="13447" cy="26634"/>
            </a:xfrm>
            <a:custGeom>
              <a:avLst/>
              <a:gdLst>
                <a:gd name="T0" fmla="*/ 16 w 16"/>
                <a:gd name="T1" fmla="*/ 0 h 37"/>
                <a:gd name="T2" fmla="*/ 5 w 16"/>
                <a:gd name="T3" fmla="*/ 2 h 37"/>
                <a:gd name="T4" fmla="*/ 1 w 16"/>
                <a:gd name="T5" fmla="*/ 19 h 37"/>
                <a:gd name="T6" fmla="*/ 1 w 16"/>
                <a:gd name="T7" fmla="*/ 37 h 37"/>
                <a:gd name="T8" fmla="*/ 14 w 16"/>
                <a:gd name="T9" fmla="*/ 30 h 37"/>
                <a:gd name="T10" fmla="*/ 13 w 16"/>
                <a:gd name="T11" fmla="*/ 12 h 37"/>
                <a:gd name="T12" fmla="*/ 16 w 16"/>
                <a:gd name="T1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37">
                  <a:moveTo>
                    <a:pt x="16" y="0"/>
                  </a:moveTo>
                  <a:cubicBezTo>
                    <a:pt x="15" y="0"/>
                    <a:pt x="5" y="2"/>
                    <a:pt x="5" y="2"/>
                  </a:cubicBezTo>
                  <a:cubicBezTo>
                    <a:pt x="5" y="2"/>
                    <a:pt x="2" y="11"/>
                    <a:pt x="1" y="19"/>
                  </a:cubicBezTo>
                  <a:cubicBezTo>
                    <a:pt x="0" y="27"/>
                    <a:pt x="1" y="37"/>
                    <a:pt x="1" y="37"/>
                  </a:cubicBezTo>
                  <a:cubicBezTo>
                    <a:pt x="7" y="36"/>
                    <a:pt x="9" y="37"/>
                    <a:pt x="14" y="30"/>
                  </a:cubicBezTo>
                  <a:cubicBezTo>
                    <a:pt x="14" y="30"/>
                    <a:pt x="10" y="22"/>
                    <a:pt x="13" y="12"/>
                  </a:cubicBezTo>
                  <a:cubicBezTo>
                    <a:pt x="15" y="3"/>
                    <a:pt x="16" y="0"/>
                    <a:pt x="16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118872" tIns="59436" rIns="118872" bIns="5943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" name="Freeform 15">
              <a:extLst>
                <a:ext uri="{FF2B5EF4-FFF2-40B4-BE49-F238E27FC236}">
                  <a16:creationId xmlns:a16="http://schemas.microsoft.com/office/drawing/2014/main" id="{4B25D8B6-A435-51BA-9818-C2E9C668DF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0992" y="3745306"/>
              <a:ext cx="26893" cy="27679"/>
            </a:xfrm>
            <a:custGeom>
              <a:avLst/>
              <a:gdLst>
                <a:gd name="T0" fmla="*/ 1 w 32"/>
                <a:gd name="T1" fmla="*/ 1 h 38"/>
                <a:gd name="T2" fmla="*/ 0 w 32"/>
                <a:gd name="T3" fmla="*/ 35 h 38"/>
                <a:gd name="T4" fmla="*/ 10 w 32"/>
                <a:gd name="T5" fmla="*/ 38 h 38"/>
                <a:gd name="T6" fmla="*/ 32 w 32"/>
                <a:gd name="T7" fmla="*/ 38 h 38"/>
                <a:gd name="T8" fmla="*/ 27 w 32"/>
                <a:gd name="T9" fmla="*/ 0 h 38"/>
                <a:gd name="T10" fmla="*/ 12 w 32"/>
                <a:gd name="T11" fmla="*/ 21 h 38"/>
                <a:gd name="T12" fmla="*/ 1 w 32"/>
                <a:gd name="T13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38">
                  <a:moveTo>
                    <a:pt x="1" y="1"/>
                  </a:moveTo>
                  <a:cubicBezTo>
                    <a:pt x="0" y="35"/>
                    <a:pt x="0" y="35"/>
                    <a:pt x="0" y="35"/>
                  </a:cubicBezTo>
                  <a:cubicBezTo>
                    <a:pt x="0" y="35"/>
                    <a:pt x="6" y="38"/>
                    <a:pt x="10" y="38"/>
                  </a:cubicBezTo>
                  <a:cubicBezTo>
                    <a:pt x="13" y="37"/>
                    <a:pt x="32" y="38"/>
                    <a:pt x="32" y="38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12" y="21"/>
                    <a:pt x="12" y="21"/>
                    <a:pt x="12" y="21"/>
                  </a:cubicBezTo>
                  <a:lnTo>
                    <a:pt x="1" y="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118872" tIns="59436" rIns="118872" bIns="5943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" name="Freeform 16">
              <a:extLst>
                <a:ext uri="{FF2B5EF4-FFF2-40B4-BE49-F238E27FC236}">
                  <a16:creationId xmlns:a16="http://schemas.microsoft.com/office/drawing/2014/main" id="{5CF5169F-66DE-AE52-F9F4-30081A07EBFB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8601" y="3663604"/>
              <a:ext cx="25059" cy="19323"/>
            </a:xfrm>
            <a:custGeom>
              <a:avLst/>
              <a:gdLst>
                <a:gd name="T0" fmla="*/ 29 w 29"/>
                <a:gd name="T1" fmla="*/ 4 h 27"/>
                <a:gd name="T2" fmla="*/ 20 w 29"/>
                <a:gd name="T3" fmla="*/ 0 h 27"/>
                <a:gd name="T4" fmla="*/ 8 w 29"/>
                <a:gd name="T5" fmla="*/ 12 h 27"/>
                <a:gd name="T6" fmla="*/ 0 w 29"/>
                <a:gd name="T7" fmla="*/ 23 h 27"/>
                <a:gd name="T8" fmla="*/ 10 w 29"/>
                <a:gd name="T9" fmla="*/ 27 h 27"/>
                <a:gd name="T10" fmla="*/ 20 w 29"/>
                <a:gd name="T11" fmla="*/ 12 h 27"/>
                <a:gd name="T12" fmla="*/ 29 w 29"/>
                <a:gd name="T13" fmla="*/ 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27">
                  <a:moveTo>
                    <a:pt x="29" y="4"/>
                  </a:moveTo>
                  <a:cubicBezTo>
                    <a:pt x="28" y="3"/>
                    <a:pt x="20" y="0"/>
                    <a:pt x="20" y="0"/>
                  </a:cubicBezTo>
                  <a:cubicBezTo>
                    <a:pt x="20" y="0"/>
                    <a:pt x="13" y="6"/>
                    <a:pt x="8" y="12"/>
                  </a:cubicBezTo>
                  <a:cubicBezTo>
                    <a:pt x="2" y="18"/>
                    <a:pt x="0" y="23"/>
                    <a:pt x="0" y="23"/>
                  </a:cubicBezTo>
                  <a:cubicBezTo>
                    <a:pt x="4" y="25"/>
                    <a:pt x="5" y="26"/>
                    <a:pt x="10" y="27"/>
                  </a:cubicBezTo>
                  <a:cubicBezTo>
                    <a:pt x="10" y="27"/>
                    <a:pt x="13" y="19"/>
                    <a:pt x="20" y="12"/>
                  </a:cubicBezTo>
                  <a:cubicBezTo>
                    <a:pt x="27" y="5"/>
                    <a:pt x="29" y="4"/>
                    <a:pt x="29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118872" tIns="59436" rIns="118872" bIns="5943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" name="Rectangle 85">
              <a:extLst>
                <a:ext uri="{FF2B5EF4-FFF2-40B4-BE49-F238E27FC236}">
                  <a16:creationId xmlns:a16="http://schemas.microsoft.com/office/drawing/2014/main" id="{76087B42-4ACA-5AA8-C4D2-60C209A25808}"/>
                </a:ext>
              </a:extLst>
            </p:cNvPr>
            <p:cNvSpPr/>
            <p:nvPr/>
          </p:nvSpPr>
          <p:spPr>
            <a:xfrm>
              <a:off x="2449476" y="4191004"/>
              <a:ext cx="106755" cy="10772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457189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78AF05"/>
                </a:buClr>
                <a:buSzPct val="70000"/>
                <a:buFontTx/>
                <a:buNone/>
                <a:tabLst>
                  <a:tab pos="1257269" algn="l"/>
                </a:tabLst>
                <a:defRPr/>
              </a:pPr>
              <a:r>
                <a:rPr kumimoji="0" lang="en-GB" sz="7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.</a:t>
              </a:r>
              <a:endParaRPr kumimoji="0" lang="en-GB" sz="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38" name="Grafik 121">
              <a:extLst>
                <a:ext uri="{FF2B5EF4-FFF2-40B4-BE49-F238E27FC236}">
                  <a16:creationId xmlns:a16="http://schemas.microsoft.com/office/drawing/2014/main" id="{B85951BF-CBE8-8776-2198-23934DBC321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rcRect/>
            <a:stretch/>
          </p:blipFill>
          <p:spPr>
            <a:xfrm>
              <a:off x="2782005" y="3503576"/>
              <a:ext cx="380472" cy="380472"/>
            </a:xfrm>
            <a:prstGeom prst="rect">
              <a:avLst/>
            </a:prstGeom>
          </p:spPr>
        </p:pic>
        <p:pic>
          <p:nvPicPr>
            <p:cNvPr id="39" name="Grafik 13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12E9CC93-C61E-969C-752B-0D4EFAB578A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2066647" y="3311998"/>
              <a:ext cx="478145" cy="478145"/>
            </a:xfrm>
            <a:prstGeom prst="rect">
              <a:avLst/>
            </a:prstGeom>
          </p:spPr>
        </p:pic>
        <p:pic>
          <p:nvPicPr>
            <p:cNvPr id="40" name="Grafik 15" descr="Ein Bild, das Teller, Schild, Uhr, Zeichnung enthält.&#10;&#10;Automatisch generierte Beschreibung">
              <a:extLst>
                <a:ext uri="{FF2B5EF4-FFF2-40B4-BE49-F238E27FC236}">
                  <a16:creationId xmlns:a16="http://schemas.microsoft.com/office/drawing/2014/main" id="{5F3C0E23-924C-F629-AF3C-C6222311728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2373202" y="3897703"/>
              <a:ext cx="478145" cy="478145"/>
            </a:xfrm>
            <a:prstGeom prst="rect">
              <a:avLst/>
            </a:prstGeom>
          </p:spPr>
        </p:pic>
        <p:pic>
          <p:nvPicPr>
            <p:cNvPr id="41" name="Grafik 17" descr="Ein Bild, das Objekt, Uhr, haltend, Mann enthält.&#10;&#10;Automatisch generierte Beschreibung">
              <a:extLst>
                <a:ext uri="{FF2B5EF4-FFF2-40B4-BE49-F238E27FC236}">
                  <a16:creationId xmlns:a16="http://schemas.microsoft.com/office/drawing/2014/main" id="{1BC2C670-C24A-E6B2-CB20-4A775B726EA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3045491" y="3905251"/>
              <a:ext cx="478145" cy="478145"/>
            </a:xfrm>
            <a:prstGeom prst="rect">
              <a:avLst/>
            </a:prstGeom>
          </p:spPr>
        </p:pic>
        <p:pic>
          <p:nvPicPr>
            <p:cNvPr id="42" name="Grafik 19" descr="Ein Bild, das Teller enthält.&#10;&#10;Automatisch generierte Beschreibung">
              <a:extLst>
                <a:ext uri="{FF2B5EF4-FFF2-40B4-BE49-F238E27FC236}">
                  <a16:creationId xmlns:a16="http://schemas.microsoft.com/office/drawing/2014/main" id="{F70CB08F-2C07-42E2-5EC1-E1C1B60B5FF5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3399690" y="3355233"/>
              <a:ext cx="478145" cy="47814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9183758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Use Cases of NLP in Healthcare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DCBFF84-DFBF-BD97-EB08-92EDADF7EDA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8775" y="1450800"/>
            <a:ext cx="1270289" cy="127028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735C0AC-627A-CDD2-A79F-DC9F805C919B}"/>
              </a:ext>
            </a:extLst>
          </p:cNvPr>
          <p:cNvSpPr txBox="1"/>
          <p:nvPr/>
        </p:nvSpPr>
        <p:spPr>
          <a:xfrm>
            <a:off x="948660" y="2851304"/>
            <a:ext cx="1590517" cy="57769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7A94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linica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7A94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ocumentation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97407977-DE03-F9D6-732E-362B6C21236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43631" y="1450800"/>
            <a:ext cx="1270289" cy="1270289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BA8D21AD-93DE-147F-E4DA-E889CE62A33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08997" y="3834833"/>
            <a:ext cx="1269841" cy="1269841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543DE094-909F-D701-E48C-2CF6C18CF9FF}"/>
              </a:ext>
            </a:extLst>
          </p:cNvPr>
          <p:cNvSpPr txBox="1"/>
          <p:nvPr/>
        </p:nvSpPr>
        <p:spPr>
          <a:xfrm>
            <a:off x="3483516" y="2855236"/>
            <a:ext cx="1590517" cy="57769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7A94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peech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7A94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ecognition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B90A899E-52A7-3DAF-D2DA-52B6E5D64A95}"/>
              </a:ext>
            </a:extLst>
          </p:cNvPr>
          <p:cNvSpPr txBox="1"/>
          <p:nvPr/>
        </p:nvSpPr>
        <p:spPr>
          <a:xfrm>
            <a:off x="838199" y="5221659"/>
            <a:ext cx="1811435" cy="57769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7A94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I Chatbot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7A94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nd Virtual Scribe</a:t>
            </a: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612B136D-93A1-EBCE-A953-80CE5BEB5C1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43631" y="3882338"/>
            <a:ext cx="1270289" cy="1270289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2852E8DA-A683-BFB1-3856-10EA5FD849A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78487" y="1450799"/>
            <a:ext cx="1270289" cy="1270289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00F22964-5DC8-7E73-24C6-73509DA9CB64}"/>
              </a:ext>
            </a:extLst>
          </p:cNvPr>
          <p:cNvSpPr txBox="1"/>
          <p:nvPr/>
        </p:nvSpPr>
        <p:spPr>
          <a:xfrm>
            <a:off x="3373056" y="5221659"/>
            <a:ext cx="1811435" cy="57769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7A94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linical Tria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7A94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atching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1F702A57-CEE4-F1AC-8F87-8994EAC5C3EA}"/>
              </a:ext>
            </a:extLst>
          </p:cNvPr>
          <p:cNvSpPr txBox="1"/>
          <p:nvPr/>
        </p:nvSpPr>
        <p:spPr>
          <a:xfrm>
            <a:off x="6018372" y="2852272"/>
            <a:ext cx="1590517" cy="57769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7A94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ata Mining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7A94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esearch</a:t>
            </a: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29628BBB-1237-88F4-25EE-734363FEBA8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178487" y="3966557"/>
            <a:ext cx="1270289" cy="1270289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581C9ABA-90CA-1F6E-D15B-4B8383DE566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756511" y="1450799"/>
            <a:ext cx="1270289" cy="1270289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9FB2EDB5-574E-E3A6-6AB3-9F2D7B5306D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756511" y="3882337"/>
            <a:ext cx="1270289" cy="1270289"/>
          </a:xfrm>
          <a:prstGeom prst="rect">
            <a:avLst/>
          </a:prstGeom>
        </p:spPr>
      </p:pic>
      <p:sp>
        <p:nvSpPr>
          <p:cNvPr id="55" name="TextBox 54">
            <a:extLst>
              <a:ext uri="{FF2B5EF4-FFF2-40B4-BE49-F238E27FC236}">
                <a16:creationId xmlns:a16="http://schemas.microsoft.com/office/drawing/2014/main" id="{2BBC1699-51F1-C775-D513-F9E018E9F73A}"/>
              </a:ext>
            </a:extLst>
          </p:cNvPr>
          <p:cNvSpPr txBox="1"/>
          <p:nvPr/>
        </p:nvSpPr>
        <p:spPr>
          <a:xfrm>
            <a:off x="5685371" y="5236846"/>
            <a:ext cx="2455279" cy="56250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7A94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eview Management &amp;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7A94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entiment Analysis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37B750E2-09CE-1415-34EA-AA4DD5D1F3F7}"/>
              </a:ext>
            </a:extLst>
          </p:cNvPr>
          <p:cNvSpPr txBox="1"/>
          <p:nvPr/>
        </p:nvSpPr>
        <p:spPr>
          <a:xfrm>
            <a:off x="8560479" y="2860796"/>
            <a:ext cx="1590517" cy="57769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7A94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mputationa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7A94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henotyping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CEECADA8-EEEF-E825-0F10-0106575881EF}"/>
              </a:ext>
            </a:extLst>
          </p:cNvPr>
          <p:cNvSpPr txBox="1"/>
          <p:nvPr/>
        </p:nvSpPr>
        <p:spPr>
          <a:xfrm>
            <a:off x="8527544" y="5236846"/>
            <a:ext cx="1728222" cy="57769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7A94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linical Decision Support</a:t>
            </a:r>
          </a:p>
        </p:txBody>
      </p:sp>
    </p:spTree>
    <p:extLst>
      <p:ext uri="{BB962C8B-B14F-4D97-AF65-F5344CB8AC3E}">
        <p14:creationId xmlns:p14="http://schemas.microsoft.com/office/powerpoint/2010/main" val="357747150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2" name="Picture 8" descr="NLP Tutorial 12 - Text Summarization using NLP - YouTube">
            <a:extLst>
              <a:ext uri="{FF2B5EF4-FFF2-40B4-BE49-F238E27FC236}">
                <a16:creationId xmlns:a16="http://schemas.microsoft.com/office/drawing/2014/main" id="{BCA557F0-FF50-5835-574A-CA911EDF7D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01307" y="4987608"/>
            <a:ext cx="2761941" cy="15535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E557F9BD-C38D-BBDA-0CBC-8D3A4AAD3C94}"/>
              </a:ext>
            </a:extLst>
          </p:cNvPr>
          <p:cNvSpPr txBox="1"/>
          <p:nvPr/>
        </p:nvSpPr>
        <p:spPr>
          <a:xfrm>
            <a:off x="461640" y="1553592"/>
            <a:ext cx="6391922" cy="2645546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t="100000" r="100000"/>
            </a:path>
            <a:tileRect l="-100000" b="-100000"/>
          </a:gradFill>
        </p:spPr>
        <p:txBody>
          <a:bodyPr wrap="square" lIns="0" tIns="0" rIns="0" bIns="0" rtlCol="0">
            <a:noAutofit/>
          </a:bodyPr>
          <a:lstStyle/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GB" sz="14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10074760" cy="1134000"/>
          </a:xfrm>
        </p:spPr>
        <p:txBody>
          <a:bodyPr/>
          <a:lstStyle/>
          <a:p>
            <a:r>
              <a:rPr lang="en-US" dirty="0"/>
              <a:t>In Our Case: </a:t>
            </a:r>
            <a:r>
              <a:rPr lang="en-US" b="0" dirty="0"/>
              <a:t>Huggingface</a:t>
            </a:r>
            <a:r>
              <a:rPr lang="en-US" dirty="0"/>
              <a:t> </a:t>
            </a:r>
            <a:r>
              <a:rPr lang="en-US" b="0" dirty="0"/>
              <a:t>BART Model</a:t>
            </a:r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55468C77-91DB-FAA8-A643-6600AA056A41}"/>
              </a:ext>
            </a:extLst>
          </p:cNvPr>
          <p:cNvSpPr/>
          <p:nvPr/>
        </p:nvSpPr>
        <p:spPr>
          <a:xfrm>
            <a:off x="630314" y="2237173"/>
            <a:ext cx="2636668" cy="878889"/>
          </a:xfrm>
          <a:prstGeom prst="roundRect">
            <a:avLst/>
          </a:prstGeom>
          <a:solidFill>
            <a:srgbClr val="FFFFFF">
              <a:alpha val="60000"/>
            </a:srgbClr>
          </a:solidFill>
          <a:ln>
            <a:solidFill>
              <a:srgbClr val="007A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 w="0"/>
                <a:solidFill>
                  <a:srgbClr val="008CAA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Segoe UI"/>
                <a:ea typeface="+mn-ea"/>
                <a:cs typeface="+mn-cs"/>
              </a:rPr>
              <a:t>Bidirectiona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 w="0"/>
                <a:solidFill>
                  <a:srgbClr val="008CAA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Segoe UI"/>
                <a:ea typeface="+mn-ea"/>
                <a:cs typeface="+mn-cs"/>
              </a:rPr>
              <a:t>Encoder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5A3370DA-EE71-F4E4-325B-C15D683CD69F}"/>
              </a:ext>
            </a:extLst>
          </p:cNvPr>
          <p:cNvCxnSpPr/>
          <p:nvPr/>
        </p:nvCxnSpPr>
        <p:spPr>
          <a:xfrm>
            <a:off x="954349" y="2971804"/>
            <a:ext cx="1988598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9E3271CB-3D24-862A-0708-30DE99B4651D}"/>
              </a:ext>
            </a:extLst>
          </p:cNvPr>
          <p:cNvSpPr txBox="1"/>
          <p:nvPr/>
        </p:nvSpPr>
        <p:spPr>
          <a:xfrm>
            <a:off x="1097873" y="3391304"/>
            <a:ext cx="2169109" cy="43590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78AF05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   __   B   __   E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4E70E286-DFF5-0E45-4EB7-858772BCE985}"/>
              </a:ext>
            </a:extLst>
          </p:cNvPr>
          <p:cNvCxnSpPr/>
          <p:nvPr/>
        </p:nvCxnSpPr>
        <p:spPr>
          <a:xfrm flipV="1">
            <a:off x="1189608" y="3116062"/>
            <a:ext cx="0" cy="29296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64AB0C42-37EA-7298-7D1E-63E0375C5860}"/>
              </a:ext>
            </a:extLst>
          </p:cNvPr>
          <p:cNvCxnSpPr/>
          <p:nvPr/>
        </p:nvCxnSpPr>
        <p:spPr>
          <a:xfrm flipV="1">
            <a:off x="1590583" y="3136037"/>
            <a:ext cx="0" cy="29296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F815149D-08A2-F2B2-DF37-615C283C5C37}"/>
              </a:ext>
            </a:extLst>
          </p:cNvPr>
          <p:cNvCxnSpPr/>
          <p:nvPr/>
        </p:nvCxnSpPr>
        <p:spPr>
          <a:xfrm flipV="1">
            <a:off x="1950128" y="3136036"/>
            <a:ext cx="0" cy="29296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C016064A-D52E-62DC-5CA3-E8CAF3581217}"/>
              </a:ext>
            </a:extLst>
          </p:cNvPr>
          <p:cNvCxnSpPr/>
          <p:nvPr/>
        </p:nvCxnSpPr>
        <p:spPr>
          <a:xfrm flipV="1">
            <a:off x="2407329" y="3136036"/>
            <a:ext cx="0" cy="29296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7D626868-CC43-319E-0503-872B91F1378E}"/>
              </a:ext>
            </a:extLst>
          </p:cNvPr>
          <p:cNvCxnSpPr/>
          <p:nvPr/>
        </p:nvCxnSpPr>
        <p:spPr>
          <a:xfrm flipV="1">
            <a:off x="2780191" y="3136035"/>
            <a:ext cx="0" cy="29296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5847EE61-6858-B591-BB0F-BF1CB80ED428}"/>
              </a:ext>
            </a:extLst>
          </p:cNvPr>
          <p:cNvSpPr/>
          <p:nvPr/>
        </p:nvSpPr>
        <p:spPr>
          <a:xfrm>
            <a:off x="3907654" y="2237172"/>
            <a:ext cx="2636668" cy="878889"/>
          </a:xfrm>
          <a:prstGeom prst="roundRect">
            <a:avLst/>
          </a:prstGeom>
          <a:solidFill>
            <a:srgbClr val="FFFFFF">
              <a:alpha val="60000"/>
            </a:srgb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 w="0"/>
                <a:solidFill>
                  <a:srgbClr val="000000">
                    <a:lumMod val="65000"/>
                    <a:lumOff val="35000"/>
                  </a:srgb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Segoe UI"/>
                <a:ea typeface="+mn-ea"/>
                <a:cs typeface="+mn-cs"/>
              </a:rPr>
              <a:t>Autoregressiv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 w="0"/>
                <a:solidFill>
                  <a:srgbClr val="000000">
                    <a:lumMod val="65000"/>
                    <a:lumOff val="35000"/>
                  </a:srgb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Segoe UI"/>
                <a:ea typeface="+mn-ea"/>
                <a:cs typeface="+mn-cs"/>
              </a:rPr>
              <a:t>Decod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0AE9F0C-296E-A939-09CD-9CCCB80A29AB}"/>
              </a:ext>
            </a:extLst>
          </p:cNvPr>
          <p:cNvSpPr txBox="1"/>
          <p:nvPr/>
        </p:nvSpPr>
        <p:spPr>
          <a:xfrm>
            <a:off x="4227249" y="3428998"/>
            <a:ext cx="1997477" cy="43590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&lt;s&gt;  A   B   C   D</a:t>
            </a: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DA2A04BA-1276-1B9B-21C0-5DFFC3A5B73A}"/>
              </a:ext>
            </a:extLst>
          </p:cNvPr>
          <p:cNvCxnSpPr/>
          <p:nvPr/>
        </p:nvCxnSpPr>
        <p:spPr>
          <a:xfrm flipV="1">
            <a:off x="4477305" y="3144170"/>
            <a:ext cx="0" cy="292963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B5EBC6A6-F3BF-EBC1-4A2D-F6BF337F0382}"/>
              </a:ext>
            </a:extLst>
          </p:cNvPr>
          <p:cNvCxnSpPr/>
          <p:nvPr/>
        </p:nvCxnSpPr>
        <p:spPr>
          <a:xfrm flipV="1">
            <a:off x="4922668" y="3152305"/>
            <a:ext cx="0" cy="292963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245D2789-55DF-6496-9753-DC4178A9B10A}"/>
              </a:ext>
            </a:extLst>
          </p:cNvPr>
          <p:cNvCxnSpPr/>
          <p:nvPr/>
        </p:nvCxnSpPr>
        <p:spPr>
          <a:xfrm flipV="1">
            <a:off x="5695025" y="3152305"/>
            <a:ext cx="0" cy="292963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2FF86F6D-0AF7-B11A-1A34-F2E8102A9FF7}"/>
              </a:ext>
            </a:extLst>
          </p:cNvPr>
          <p:cNvCxnSpPr/>
          <p:nvPr/>
        </p:nvCxnSpPr>
        <p:spPr>
          <a:xfrm flipV="1">
            <a:off x="5323643" y="3152305"/>
            <a:ext cx="0" cy="292963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4C94D070-42B1-6A23-A17C-E9FA656D154E}"/>
              </a:ext>
            </a:extLst>
          </p:cNvPr>
          <p:cNvCxnSpPr/>
          <p:nvPr/>
        </p:nvCxnSpPr>
        <p:spPr>
          <a:xfrm flipV="1">
            <a:off x="6073806" y="3144170"/>
            <a:ext cx="0" cy="292963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428C6673-7296-F535-C5DA-58D547BA350C}"/>
              </a:ext>
            </a:extLst>
          </p:cNvPr>
          <p:cNvCxnSpPr/>
          <p:nvPr/>
        </p:nvCxnSpPr>
        <p:spPr>
          <a:xfrm>
            <a:off x="4242047" y="2971804"/>
            <a:ext cx="1988598" cy="0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99802151-9EC3-D4E9-8F8D-D4E3F69C5780}"/>
              </a:ext>
            </a:extLst>
          </p:cNvPr>
          <p:cNvSpPr txBox="1"/>
          <p:nvPr/>
        </p:nvSpPr>
        <p:spPr>
          <a:xfrm>
            <a:off x="4242047" y="1628767"/>
            <a:ext cx="1997477" cy="43590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 A   B   C   D   E</a:t>
            </a: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F28C7214-CB0E-3052-725F-EEDA06DEB94A}"/>
              </a:ext>
            </a:extLst>
          </p:cNvPr>
          <p:cNvCxnSpPr/>
          <p:nvPr/>
        </p:nvCxnSpPr>
        <p:spPr>
          <a:xfrm flipV="1">
            <a:off x="4477305" y="1937759"/>
            <a:ext cx="0" cy="292963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204D70C3-F7E0-913C-0921-CF2B36885FD5}"/>
              </a:ext>
            </a:extLst>
          </p:cNvPr>
          <p:cNvCxnSpPr/>
          <p:nvPr/>
        </p:nvCxnSpPr>
        <p:spPr>
          <a:xfrm flipV="1">
            <a:off x="4851647" y="1944209"/>
            <a:ext cx="0" cy="292963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A8AB3EDD-3406-F275-764C-7EAF6DA59955}"/>
              </a:ext>
            </a:extLst>
          </p:cNvPr>
          <p:cNvCxnSpPr/>
          <p:nvPr/>
        </p:nvCxnSpPr>
        <p:spPr>
          <a:xfrm flipV="1">
            <a:off x="5236346" y="1951602"/>
            <a:ext cx="0" cy="292963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294B1D85-6F3F-2BCB-5539-1A8675423BF1}"/>
              </a:ext>
            </a:extLst>
          </p:cNvPr>
          <p:cNvCxnSpPr/>
          <p:nvPr/>
        </p:nvCxnSpPr>
        <p:spPr>
          <a:xfrm flipV="1">
            <a:off x="5588179" y="1950117"/>
            <a:ext cx="0" cy="292963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42993A6B-D4C8-016B-10B0-A8AE91FF78A3}"/>
              </a:ext>
            </a:extLst>
          </p:cNvPr>
          <p:cNvCxnSpPr/>
          <p:nvPr/>
        </p:nvCxnSpPr>
        <p:spPr>
          <a:xfrm flipV="1">
            <a:off x="5961356" y="1944209"/>
            <a:ext cx="0" cy="292963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Arrow: Right 31">
            <a:extLst>
              <a:ext uri="{FF2B5EF4-FFF2-40B4-BE49-F238E27FC236}">
                <a16:creationId xmlns:a16="http://schemas.microsoft.com/office/drawing/2014/main" id="{04546667-3481-CDAC-FA58-738A610F50CB}"/>
              </a:ext>
            </a:extLst>
          </p:cNvPr>
          <p:cNvSpPr/>
          <p:nvPr/>
        </p:nvSpPr>
        <p:spPr>
          <a:xfrm>
            <a:off x="3330605" y="2537370"/>
            <a:ext cx="480873" cy="278492"/>
          </a:xfrm>
          <a:prstGeom prst="rightArrow">
            <a:avLst/>
          </a:prstGeom>
          <a:solidFill>
            <a:srgbClr val="007A94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 w="0"/>
              <a:solidFill>
                <a:srgbClr val="008CAA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04BCA50-FB18-ADDF-AF9D-72AF5C9BE962}"/>
              </a:ext>
            </a:extLst>
          </p:cNvPr>
          <p:cNvSpPr txBox="1"/>
          <p:nvPr/>
        </p:nvSpPr>
        <p:spPr>
          <a:xfrm>
            <a:off x="2942947" y="3965552"/>
            <a:ext cx="1335349" cy="29296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odel Architecture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503D8EA-1B97-DF8C-03D4-20C67136D3A9}"/>
              </a:ext>
            </a:extLst>
          </p:cNvPr>
          <p:cNvSpPr txBox="1"/>
          <p:nvPr/>
        </p:nvSpPr>
        <p:spPr>
          <a:xfrm>
            <a:off x="466347" y="4219111"/>
            <a:ext cx="6387215" cy="174480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BART uses a standard Transformer-based neural machine translation architecture for reconstructing the original text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BART is particularly effective when fine-tuned for text generation but also works well for comprehension tasks(e.g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7A94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., 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7A94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nversational chatbots, language translation, sentiment analysis, or a tool to summarize texts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)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28" name="Picture 4" descr="Baidu launches medical chatbot to help Chinese doctors diagnose patients -  The Verge">
            <a:extLst>
              <a:ext uri="{FF2B5EF4-FFF2-40B4-BE49-F238E27FC236}">
                <a16:creationId xmlns:a16="http://schemas.microsoft.com/office/drawing/2014/main" id="{61526372-6A04-624E-2C5F-6664374A6A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8492" y="2006483"/>
            <a:ext cx="3264756" cy="1836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36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4D4893CB-3ED5-059D-EE45-50AD22B71AE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4803" y="1169280"/>
            <a:ext cx="2080807" cy="1368090"/>
          </a:xfrm>
          <a:prstGeom prst="rect">
            <a:avLst/>
          </a:prstGeom>
        </p:spPr>
      </p:pic>
      <p:pic>
        <p:nvPicPr>
          <p:cNvPr id="1030" name="Picture 6" descr="Sentiment Analysis Guide">
            <a:extLst>
              <a:ext uri="{FF2B5EF4-FFF2-40B4-BE49-F238E27FC236}">
                <a16:creationId xmlns:a16="http://schemas.microsoft.com/office/drawing/2014/main" id="{E4FBFCD6-6B13-B6BC-E031-C51F723DF2C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75" t="7260" r="9673" b="23750"/>
          <a:stretch/>
        </p:blipFill>
        <p:spPr bwMode="auto">
          <a:xfrm>
            <a:off x="7275742" y="3694793"/>
            <a:ext cx="2885243" cy="1836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90CEBFC3-8199-3D6E-76EE-6371392F2CB3}"/>
              </a:ext>
            </a:extLst>
          </p:cNvPr>
          <p:cNvSpPr txBox="1"/>
          <p:nvPr/>
        </p:nvSpPr>
        <p:spPr>
          <a:xfrm>
            <a:off x="461640" y="6274774"/>
            <a:ext cx="9173440" cy="20987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*</a:t>
            </a: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Note: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docs/transformers/model_doc/bart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87459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10074760" cy="1134000"/>
          </a:xfrm>
        </p:spPr>
        <p:txBody>
          <a:bodyPr/>
          <a:lstStyle/>
          <a:p>
            <a:r>
              <a:rPr lang="en-US" dirty="0"/>
              <a:t>In Our Case: </a:t>
            </a:r>
            <a:r>
              <a:rPr lang="en-US" b="0" dirty="0"/>
              <a:t>BART-Large + Drug Reviews from WebMD</a:t>
            </a:r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sp>
        <p:nvSpPr>
          <p:cNvPr id="24" name="Freeform 82">
            <a:extLst>
              <a:ext uri="{FF2B5EF4-FFF2-40B4-BE49-F238E27FC236}">
                <a16:creationId xmlns:a16="http://schemas.microsoft.com/office/drawing/2014/main" id="{3C60619E-A104-4079-CC96-9DFFA825DC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55395" y="2844591"/>
            <a:ext cx="1639947" cy="1583533"/>
          </a:xfrm>
          <a:custGeom>
            <a:avLst/>
            <a:gdLst>
              <a:gd name="T0" fmla="*/ 2080 w 5514"/>
              <a:gd name="T1" fmla="*/ 96 h 5322"/>
              <a:gd name="T2" fmla="*/ 2080 w 5514"/>
              <a:gd name="T3" fmla="*/ 96 h 5322"/>
              <a:gd name="T4" fmla="*/ 9 w 5514"/>
              <a:gd name="T5" fmla="*/ 5096 h 5322"/>
              <a:gd name="T6" fmla="*/ 9 w 5514"/>
              <a:gd name="T7" fmla="*/ 5096 h 5322"/>
              <a:gd name="T8" fmla="*/ 219 w 5514"/>
              <a:gd name="T9" fmla="*/ 5321 h 5322"/>
              <a:gd name="T10" fmla="*/ 4521 w 5514"/>
              <a:gd name="T11" fmla="*/ 5321 h 5322"/>
              <a:gd name="T12" fmla="*/ 4521 w 5514"/>
              <a:gd name="T13" fmla="*/ 5321 h 5322"/>
              <a:gd name="T14" fmla="*/ 4730 w 5514"/>
              <a:gd name="T15" fmla="*/ 5140 h 5322"/>
              <a:gd name="T16" fmla="*/ 4730 w 5514"/>
              <a:gd name="T17" fmla="*/ 5140 h 5322"/>
              <a:gd name="T18" fmla="*/ 5450 w 5514"/>
              <a:gd name="T19" fmla="*/ 3403 h 5322"/>
              <a:gd name="T20" fmla="*/ 5450 w 5514"/>
              <a:gd name="T21" fmla="*/ 3403 h 5322"/>
              <a:gd name="T22" fmla="*/ 5430 w 5514"/>
              <a:gd name="T23" fmla="*/ 3128 h 5322"/>
              <a:gd name="T24" fmla="*/ 2388 w 5514"/>
              <a:gd name="T25" fmla="*/ 86 h 5322"/>
              <a:gd name="T26" fmla="*/ 2388 w 5514"/>
              <a:gd name="T27" fmla="*/ 86 h 5322"/>
              <a:gd name="T28" fmla="*/ 2080 w 5514"/>
              <a:gd name="T29" fmla="*/ 96 h 53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514" h="5322">
                <a:moveTo>
                  <a:pt x="2080" y="96"/>
                </a:moveTo>
                <a:lnTo>
                  <a:pt x="2080" y="96"/>
                </a:lnTo>
                <a:cubicBezTo>
                  <a:pt x="901" y="1455"/>
                  <a:pt x="142" y="3189"/>
                  <a:pt x="9" y="5096"/>
                </a:cubicBezTo>
                <a:lnTo>
                  <a:pt x="9" y="5096"/>
                </a:lnTo>
                <a:cubicBezTo>
                  <a:pt x="0" y="5218"/>
                  <a:pt x="98" y="5321"/>
                  <a:pt x="219" y="5321"/>
                </a:cubicBezTo>
                <a:lnTo>
                  <a:pt x="4521" y="5321"/>
                </a:lnTo>
                <a:lnTo>
                  <a:pt x="4521" y="5321"/>
                </a:lnTo>
                <a:cubicBezTo>
                  <a:pt x="4626" y="5321"/>
                  <a:pt x="4715" y="5244"/>
                  <a:pt x="4730" y="5140"/>
                </a:cubicBezTo>
                <a:lnTo>
                  <a:pt x="4730" y="5140"/>
                </a:lnTo>
                <a:cubicBezTo>
                  <a:pt x="4824" y="4495"/>
                  <a:pt x="5079" y="3902"/>
                  <a:pt x="5450" y="3403"/>
                </a:cubicBezTo>
                <a:lnTo>
                  <a:pt x="5450" y="3403"/>
                </a:lnTo>
                <a:cubicBezTo>
                  <a:pt x="5513" y="3319"/>
                  <a:pt x="5504" y="3202"/>
                  <a:pt x="5430" y="3128"/>
                </a:cubicBezTo>
                <a:lnTo>
                  <a:pt x="2388" y="86"/>
                </a:lnTo>
                <a:lnTo>
                  <a:pt x="2388" y="86"/>
                </a:lnTo>
                <a:cubicBezTo>
                  <a:pt x="2302" y="0"/>
                  <a:pt x="2160" y="4"/>
                  <a:pt x="2080" y="96"/>
                </a:cubicBezTo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1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65" b="0" i="0" u="none" strike="noStrike" kern="1200" cap="none" spc="0" normalizeH="0" baseline="0" noProof="0" dirty="0">
              <a:ln>
                <a:noFill/>
              </a:ln>
              <a:solidFill>
                <a:srgbClr val="AAAAA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5" name="Freeform 83">
            <a:extLst>
              <a:ext uri="{FF2B5EF4-FFF2-40B4-BE49-F238E27FC236}">
                <a16:creationId xmlns:a16="http://schemas.microsoft.com/office/drawing/2014/main" id="{24DD78A8-8B73-6C20-65D1-7B94C19E8A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96659" y="4653780"/>
            <a:ext cx="1639947" cy="1583532"/>
          </a:xfrm>
          <a:custGeom>
            <a:avLst/>
            <a:gdLst>
              <a:gd name="T0" fmla="*/ 783 w 5514"/>
              <a:gd name="T1" fmla="*/ 182 h 5323"/>
              <a:gd name="T2" fmla="*/ 783 w 5514"/>
              <a:gd name="T3" fmla="*/ 182 h 5323"/>
              <a:gd name="T4" fmla="*/ 63 w 5514"/>
              <a:gd name="T5" fmla="*/ 1919 h 5323"/>
              <a:gd name="T6" fmla="*/ 63 w 5514"/>
              <a:gd name="T7" fmla="*/ 1919 h 5323"/>
              <a:gd name="T8" fmla="*/ 83 w 5514"/>
              <a:gd name="T9" fmla="*/ 2194 h 5323"/>
              <a:gd name="T10" fmla="*/ 3125 w 5514"/>
              <a:gd name="T11" fmla="*/ 5236 h 5323"/>
              <a:gd name="T12" fmla="*/ 3125 w 5514"/>
              <a:gd name="T13" fmla="*/ 5236 h 5323"/>
              <a:gd name="T14" fmla="*/ 3433 w 5514"/>
              <a:gd name="T15" fmla="*/ 5225 h 5323"/>
              <a:gd name="T16" fmla="*/ 3433 w 5514"/>
              <a:gd name="T17" fmla="*/ 5225 h 5323"/>
              <a:gd name="T18" fmla="*/ 5504 w 5514"/>
              <a:gd name="T19" fmla="*/ 226 h 5323"/>
              <a:gd name="T20" fmla="*/ 5504 w 5514"/>
              <a:gd name="T21" fmla="*/ 226 h 5323"/>
              <a:gd name="T22" fmla="*/ 5294 w 5514"/>
              <a:gd name="T23" fmla="*/ 0 h 5323"/>
              <a:gd name="T24" fmla="*/ 991 w 5514"/>
              <a:gd name="T25" fmla="*/ 0 h 5323"/>
              <a:gd name="T26" fmla="*/ 991 w 5514"/>
              <a:gd name="T27" fmla="*/ 0 h 5323"/>
              <a:gd name="T28" fmla="*/ 783 w 5514"/>
              <a:gd name="T29" fmla="*/ 182 h 53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514" h="5323">
                <a:moveTo>
                  <a:pt x="783" y="182"/>
                </a:moveTo>
                <a:lnTo>
                  <a:pt x="783" y="182"/>
                </a:lnTo>
                <a:cubicBezTo>
                  <a:pt x="688" y="827"/>
                  <a:pt x="435" y="1419"/>
                  <a:pt x="63" y="1919"/>
                </a:cubicBezTo>
                <a:lnTo>
                  <a:pt x="63" y="1919"/>
                </a:lnTo>
                <a:cubicBezTo>
                  <a:pt x="0" y="2003"/>
                  <a:pt x="9" y="2120"/>
                  <a:pt x="83" y="2194"/>
                </a:cubicBezTo>
                <a:lnTo>
                  <a:pt x="3125" y="5236"/>
                </a:lnTo>
                <a:lnTo>
                  <a:pt x="3125" y="5236"/>
                </a:lnTo>
                <a:cubicBezTo>
                  <a:pt x="3211" y="5322"/>
                  <a:pt x="3353" y="5317"/>
                  <a:pt x="3433" y="5225"/>
                </a:cubicBezTo>
                <a:lnTo>
                  <a:pt x="3433" y="5225"/>
                </a:lnTo>
                <a:cubicBezTo>
                  <a:pt x="4613" y="3867"/>
                  <a:pt x="5371" y="2132"/>
                  <a:pt x="5504" y="226"/>
                </a:cubicBezTo>
                <a:lnTo>
                  <a:pt x="5504" y="226"/>
                </a:lnTo>
                <a:cubicBezTo>
                  <a:pt x="5513" y="104"/>
                  <a:pt x="5416" y="0"/>
                  <a:pt x="5294" y="0"/>
                </a:cubicBezTo>
                <a:lnTo>
                  <a:pt x="991" y="0"/>
                </a:lnTo>
                <a:lnTo>
                  <a:pt x="991" y="0"/>
                </a:lnTo>
                <a:cubicBezTo>
                  <a:pt x="887" y="0"/>
                  <a:pt x="798" y="78"/>
                  <a:pt x="783" y="182"/>
                </a:cubicBezTo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1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65" b="0" i="0" u="none" strike="noStrike" kern="1200" cap="none" spc="0" normalizeH="0" baseline="0" noProof="0" dirty="0">
              <a:ln>
                <a:noFill/>
              </a:ln>
              <a:solidFill>
                <a:srgbClr val="AAAAA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6" name="Freeform 84">
            <a:extLst>
              <a:ext uri="{FF2B5EF4-FFF2-40B4-BE49-F238E27FC236}">
                <a16:creationId xmlns:a16="http://schemas.microsoft.com/office/drawing/2014/main" id="{06571FC1-C50A-52E4-892F-02B9774597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96659" y="2844591"/>
            <a:ext cx="1639947" cy="1583533"/>
          </a:xfrm>
          <a:custGeom>
            <a:avLst/>
            <a:gdLst>
              <a:gd name="T0" fmla="*/ 3125 w 5514"/>
              <a:gd name="T1" fmla="*/ 86 h 5322"/>
              <a:gd name="T2" fmla="*/ 83 w 5514"/>
              <a:gd name="T3" fmla="*/ 3128 h 5322"/>
              <a:gd name="T4" fmla="*/ 83 w 5514"/>
              <a:gd name="T5" fmla="*/ 3128 h 5322"/>
              <a:gd name="T6" fmla="*/ 63 w 5514"/>
              <a:gd name="T7" fmla="*/ 3403 h 5322"/>
              <a:gd name="T8" fmla="*/ 63 w 5514"/>
              <a:gd name="T9" fmla="*/ 3403 h 5322"/>
              <a:gd name="T10" fmla="*/ 783 w 5514"/>
              <a:gd name="T11" fmla="*/ 5140 h 5322"/>
              <a:gd name="T12" fmla="*/ 783 w 5514"/>
              <a:gd name="T13" fmla="*/ 5140 h 5322"/>
              <a:gd name="T14" fmla="*/ 991 w 5514"/>
              <a:gd name="T15" fmla="*/ 5321 h 5322"/>
              <a:gd name="T16" fmla="*/ 5294 w 5514"/>
              <a:gd name="T17" fmla="*/ 5321 h 5322"/>
              <a:gd name="T18" fmla="*/ 5294 w 5514"/>
              <a:gd name="T19" fmla="*/ 5321 h 5322"/>
              <a:gd name="T20" fmla="*/ 5504 w 5514"/>
              <a:gd name="T21" fmla="*/ 5096 h 5322"/>
              <a:gd name="T22" fmla="*/ 5504 w 5514"/>
              <a:gd name="T23" fmla="*/ 5096 h 5322"/>
              <a:gd name="T24" fmla="*/ 3433 w 5514"/>
              <a:gd name="T25" fmla="*/ 96 h 5322"/>
              <a:gd name="T26" fmla="*/ 3433 w 5514"/>
              <a:gd name="T27" fmla="*/ 96 h 5322"/>
              <a:gd name="T28" fmla="*/ 3125 w 5514"/>
              <a:gd name="T29" fmla="*/ 86 h 53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514" h="5322">
                <a:moveTo>
                  <a:pt x="3125" y="86"/>
                </a:moveTo>
                <a:lnTo>
                  <a:pt x="83" y="3128"/>
                </a:lnTo>
                <a:lnTo>
                  <a:pt x="83" y="3128"/>
                </a:lnTo>
                <a:cubicBezTo>
                  <a:pt x="9" y="3202"/>
                  <a:pt x="0" y="3319"/>
                  <a:pt x="63" y="3403"/>
                </a:cubicBezTo>
                <a:lnTo>
                  <a:pt x="63" y="3403"/>
                </a:lnTo>
                <a:cubicBezTo>
                  <a:pt x="435" y="3902"/>
                  <a:pt x="688" y="4495"/>
                  <a:pt x="783" y="5140"/>
                </a:cubicBezTo>
                <a:lnTo>
                  <a:pt x="783" y="5140"/>
                </a:lnTo>
                <a:cubicBezTo>
                  <a:pt x="798" y="5244"/>
                  <a:pt x="887" y="5321"/>
                  <a:pt x="991" y="5321"/>
                </a:cubicBezTo>
                <a:lnTo>
                  <a:pt x="5294" y="5321"/>
                </a:lnTo>
                <a:lnTo>
                  <a:pt x="5294" y="5321"/>
                </a:lnTo>
                <a:cubicBezTo>
                  <a:pt x="5416" y="5321"/>
                  <a:pt x="5513" y="5218"/>
                  <a:pt x="5504" y="5096"/>
                </a:cubicBezTo>
                <a:lnTo>
                  <a:pt x="5504" y="5096"/>
                </a:lnTo>
                <a:cubicBezTo>
                  <a:pt x="5371" y="3189"/>
                  <a:pt x="4613" y="1455"/>
                  <a:pt x="3433" y="96"/>
                </a:cubicBezTo>
                <a:lnTo>
                  <a:pt x="3433" y="96"/>
                </a:lnTo>
                <a:cubicBezTo>
                  <a:pt x="3353" y="4"/>
                  <a:pt x="3211" y="0"/>
                  <a:pt x="3125" y="86"/>
                </a:cubicBezTo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1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65" b="0" i="0" u="none" strike="noStrike" kern="1200" cap="none" spc="0" normalizeH="0" baseline="0" noProof="0" dirty="0">
              <a:ln>
                <a:noFill/>
              </a:ln>
              <a:solidFill>
                <a:srgbClr val="AAAAA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7" name="Freeform 85">
            <a:extLst>
              <a:ext uri="{FF2B5EF4-FFF2-40B4-BE49-F238E27FC236}">
                <a16:creationId xmlns:a16="http://schemas.microsoft.com/office/drawing/2014/main" id="{10D9B357-C000-6949-CAF4-A3AAD97676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09486" y="1999689"/>
            <a:ext cx="1583533" cy="1639947"/>
          </a:xfrm>
          <a:custGeom>
            <a:avLst/>
            <a:gdLst>
              <a:gd name="T0" fmla="*/ 0 w 5323"/>
              <a:gd name="T1" fmla="*/ 219 h 5514"/>
              <a:gd name="T2" fmla="*/ 0 w 5323"/>
              <a:gd name="T3" fmla="*/ 4522 h 5514"/>
              <a:gd name="T4" fmla="*/ 0 w 5323"/>
              <a:gd name="T5" fmla="*/ 4522 h 5514"/>
              <a:gd name="T6" fmla="*/ 181 w 5323"/>
              <a:gd name="T7" fmla="*/ 4731 h 5514"/>
              <a:gd name="T8" fmla="*/ 181 w 5323"/>
              <a:gd name="T9" fmla="*/ 4731 h 5514"/>
              <a:gd name="T10" fmla="*/ 1919 w 5323"/>
              <a:gd name="T11" fmla="*/ 5451 h 5514"/>
              <a:gd name="T12" fmla="*/ 1919 w 5323"/>
              <a:gd name="T13" fmla="*/ 5451 h 5514"/>
              <a:gd name="T14" fmla="*/ 2194 w 5323"/>
              <a:gd name="T15" fmla="*/ 5430 h 5514"/>
              <a:gd name="T16" fmla="*/ 5235 w 5323"/>
              <a:gd name="T17" fmla="*/ 2388 h 5514"/>
              <a:gd name="T18" fmla="*/ 5235 w 5323"/>
              <a:gd name="T19" fmla="*/ 2388 h 5514"/>
              <a:gd name="T20" fmla="*/ 5225 w 5323"/>
              <a:gd name="T21" fmla="*/ 2080 h 5514"/>
              <a:gd name="T22" fmla="*/ 5225 w 5323"/>
              <a:gd name="T23" fmla="*/ 2080 h 5514"/>
              <a:gd name="T24" fmla="*/ 225 w 5323"/>
              <a:gd name="T25" fmla="*/ 8 h 5514"/>
              <a:gd name="T26" fmla="*/ 225 w 5323"/>
              <a:gd name="T27" fmla="*/ 8 h 5514"/>
              <a:gd name="T28" fmla="*/ 0 w 5323"/>
              <a:gd name="T29" fmla="*/ 219 h 55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323" h="5514">
                <a:moveTo>
                  <a:pt x="0" y="219"/>
                </a:moveTo>
                <a:lnTo>
                  <a:pt x="0" y="4522"/>
                </a:lnTo>
                <a:lnTo>
                  <a:pt x="0" y="4522"/>
                </a:lnTo>
                <a:cubicBezTo>
                  <a:pt x="0" y="4627"/>
                  <a:pt x="77" y="4716"/>
                  <a:pt x="181" y="4731"/>
                </a:cubicBezTo>
                <a:lnTo>
                  <a:pt x="181" y="4731"/>
                </a:lnTo>
                <a:cubicBezTo>
                  <a:pt x="826" y="4825"/>
                  <a:pt x="1419" y="5079"/>
                  <a:pt x="1919" y="5451"/>
                </a:cubicBezTo>
                <a:lnTo>
                  <a:pt x="1919" y="5451"/>
                </a:lnTo>
                <a:cubicBezTo>
                  <a:pt x="2003" y="5513"/>
                  <a:pt x="2119" y="5504"/>
                  <a:pt x="2194" y="5430"/>
                </a:cubicBezTo>
                <a:lnTo>
                  <a:pt x="5235" y="2388"/>
                </a:lnTo>
                <a:lnTo>
                  <a:pt x="5235" y="2388"/>
                </a:lnTo>
                <a:cubicBezTo>
                  <a:pt x="5322" y="2302"/>
                  <a:pt x="5317" y="2160"/>
                  <a:pt x="5225" y="2080"/>
                </a:cubicBezTo>
                <a:lnTo>
                  <a:pt x="5225" y="2080"/>
                </a:lnTo>
                <a:cubicBezTo>
                  <a:pt x="3866" y="900"/>
                  <a:pt x="2132" y="142"/>
                  <a:pt x="225" y="8"/>
                </a:cubicBezTo>
                <a:lnTo>
                  <a:pt x="225" y="8"/>
                </a:lnTo>
                <a:cubicBezTo>
                  <a:pt x="104" y="0"/>
                  <a:pt x="0" y="97"/>
                  <a:pt x="0" y="219"/>
                </a:cubicBezTo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1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65" b="0" i="0" u="none" strike="noStrike" kern="1200" cap="none" spc="0" normalizeH="0" baseline="0" noProof="0" dirty="0">
              <a:ln>
                <a:noFill/>
              </a:ln>
              <a:solidFill>
                <a:srgbClr val="AAAAA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8" name="Freeform 86">
            <a:extLst>
              <a:ext uri="{FF2B5EF4-FFF2-40B4-BE49-F238E27FC236}">
                <a16:creationId xmlns:a16="http://schemas.microsoft.com/office/drawing/2014/main" id="{A3598ABE-E7ED-1012-8C5A-8E44A5C3CD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55395" y="4653780"/>
            <a:ext cx="1639947" cy="1583532"/>
          </a:xfrm>
          <a:custGeom>
            <a:avLst/>
            <a:gdLst>
              <a:gd name="T0" fmla="*/ 4521 w 5514"/>
              <a:gd name="T1" fmla="*/ 0 h 5323"/>
              <a:gd name="T2" fmla="*/ 220 w 5514"/>
              <a:gd name="T3" fmla="*/ 0 h 5323"/>
              <a:gd name="T4" fmla="*/ 220 w 5514"/>
              <a:gd name="T5" fmla="*/ 0 h 5323"/>
              <a:gd name="T6" fmla="*/ 9 w 5514"/>
              <a:gd name="T7" fmla="*/ 225 h 5323"/>
              <a:gd name="T8" fmla="*/ 9 w 5514"/>
              <a:gd name="T9" fmla="*/ 225 h 5323"/>
              <a:gd name="T10" fmla="*/ 2080 w 5514"/>
              <a:gd name="T11" fmla="*/ 5225 h 5323"/>
              <a:gd name="T12" fmla="*/ 2080 w 5514"/>
              <a:gd name="T13" fmla="*/ 5225 h 5323"/>
              <a:gd name="T14" fmla="*/ 2388 w 5514"/>
              <a:gd name="T15" fmla="*/ 5236 h 5323"/>
              <a:gd name="T16" fmla="*/ 5430 w 5514"/>
              <a:gd name="T17" fmla="*/ 2194 h 5323"/>
              <a:gd name="T18" fmla="*/ 5430 w 5514"/>
              <a:gd name="T19" fmla="*/ 2194 h 5323"/>
              <a:gd name="T20" fmla="*/ 5450 w 5514"/>
              <a:gd name="T21" fmla="*/ 1919 h 5323"/>
              <a:gd name="T22" fmla="*/ 5450 w 5514"/>
              <a:gd name="T23" fmla="*/ 1919 h 5323"/>
              <a:gd name="T24" fmla="*/ 4730 w 5514"/>
              <a:gd name="T25" fmla="*/ 182 h 5323"/>
              <a:gd name="T26" fmla="*/ 4730 w 5514"/>
              <a:gd name="T27" fmla="*/ 182 h 5323"/>
              <a:gd name="T28" fmla="*/ 4521 w 5514"/>
              <a:gd name="T29" fmla="*/ 0 h 53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514" h="5323">
                <a:moveTo>
                  <a:pt x="4521" y="0"/>
                </a:moveTo>
                <a:lnTo>
                  <a:pt x="220" y="0"/>
                </a:lnTo>
                <a:lnTo>
                  <a:pt x="220" y="0"/>
                </a:lnTo>
                <a:cubicBezTo>
                  <a:pt x="98" y="0"/>
                  <a:pt x="0" y="104"/>
                  <a:pt x="9" y="225"/>
                </a:cubicBezTo>
                <a:lnTo>
                  <a:pt x="9" y="225"/>
                </a:lnTo>
                <a:cubicBezTo>
                  <a:pt x="142" y="2132"/>
                  <a:pt x="901" y="3867"/>
                  <a:pt x="2080" y="5225"/>
                </a:cubicBezTo>
                <a:lnTo>
                  <a:pt x="2080" y="5225"/>
                </a:lnTo>
                <a:cubicBezTo>
                  <a:pt x="2160" y="5317"/>
                  <a:pt x="2302" y="5322"/>
                  <a:pt x="2388" y="5236"/>
                </a:cubicBezTo>
                <a:lnTo>
                  <a:pt x="5430" y="2194"/>
                </a:lnTo>
                <a:lnTo>
                  <a:pt x="5430" y="2194"/>
                </a:lnTo>
                <a:cubicBezTo>
                  <a:pt x="5504" y="2120"/>
                  <a:pt x="5513" y="2003"/>
                  <a:pt x="5450" y="1919"/>
                </a:cubicBezTo>
                <a:lnTo>
                  <a:pt x="5450" y="1919"/>
                </a:lnTo>
                <a:cubicBezTo>
                  <a:pt x="5079" y="1419"/>
                  <a:pt x="4824" y="827"/>
                  <a:pt x="4730" y="182"/>
                </a:cubicBezTo>
                <a:lnTo>
                  <a:pt x="4730" y="182"/>
                </a:lnTo>
                <a:cubicBezTo>
                  <a:pt x="4715" y="78"/>
                  <a:pt x="4626" y="0"/>
                  <a:pt x="4521" y="0"/>
                </a:cubicBezTo>
              </a:path>
            </a:pathLst>
          </a:custGeom>
          <a:solidFill>
            <a:schemeClr val="bg2"/>
          </a:solidFill>
          <a:ln w="12700" cap="flat" cmpd="sng" algn="ctr">
            <a:noFill/>
            <a:prstDash val="solid"/>
            <a:miter lim="800000"/>
            <a:headEnd/>
            <a:tailEnd/>
          </a:ln>
          <a:effectLst/>
        </p:spPr>
        <p:txBody>
          <a:bodyPr vert="horz" wrap="non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rgbClr val="008CAA"/>
              </a:buClr>
              <a:buSzTx/>
              <a:buFontTx/>
              <a:buNone/>
              <a:tabLst/>
              <a:defRPr/>
            </a:pPr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9" name="Freeform 87">
            <a:extLst>
              <a:ext uri="{FF2B5EF4-FFF2-40B4-BE49-F238E27FC236}">
                <a16:creationId xmlns:a16="http://schemas.microsoft.com/office/drawing/2014/main" id="{6BC9BD89-85BF-D592-CF07-17815EC6D0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00297" y="1999689"/>
            <a:ext cx="1583532" cy="1639947"/>
          </a:xfrm>
          <a:custGeom>
            <a:avLst/>
            <a:gdLst>
              <a:gd name="T0" fmla="*/ 87 w 5323"/>
              <a:gd name="T1" fmla="*/ 2388 h 5514"/>
              <a:gd name="T2" fmla="*/ 3129 w 5323"/>
              <a:gd name="T3" fmla="*/ 5430 h 5514"/>
              <a:gd name="T4" fmla="*/ 3129 w 5323"/>
              <a:gd name="T5" fmla="*/ 5430 h 5514"/>
              <a:gd name="T6" fmla="*/ 3404 w 5323"/>
              <a:gd name="T7" fmla="*/ 5451 h 5514"/>
              <a:gd name="T8" fmla="*/ 3404 w 5323"/>
              <a:gd name="T9" fmla="*/ 5451 h 5514"/>
              <a:gd name="T10" fmla="*/ 5140 w 5323"/>
              <a:gd name="T11" fmla="*/ 4731 h 5514"/>
              <a:gd name="T12" fmla="*/ 5140 w 5323"/>
              <a:gd name="T13" fmla="*/ 4731 h 5514"/>
              <a:gd name="T14" fmla="*/ 5322 w 5323"/>
              <a:gd name="T15" fmla="*/ 4522 h 5514"/>
              <a:gd name="T16" fmla="*/ 5322 w 5323"/>
              <a:gd name="T17" fmla="*/ 219 h 5514"/>
              <a:gd name="T18" fmla="*/ 5322 w 5323"/>
              <a:gd name="T19" fmla="*/ 219 h 5514"/>
              <a:gd name="T20" fmla="*/ 5097 w 5323"/>
              <a:gd name="T21" fmla="*/ 8 h 5514"/>
              <a:gd name="T22" fmla="*/ 5097 w 5323"/>
              <a:gd name="T23" fmla="*/ 8 h 5514"/>
              <a:gd name="T24" fmla="*/ 97 w 5323"/>
              <a:gd name="T25" fmla="*/ 2080 h 5514"/>
              <a:gd name="T26" fmla="*/ 97 w 5323"/>
              <a:gd name="T27" fmla="*/ 2080 h 5514"/>
              <a:gd name="T28" fmla="*/ 87 w 5323"/>
              <a:gd name="T29" fmla="*/ 2388 h 55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323" h="5514">
                <a:moveTo>
                  <a:pt x="87" y="2388"/>
                </a:moveTo>
                <a:lnTo>
                  <a:pt x="3129" y="5430"/>
                </a:lnTo>
                <a:lnTo>
                  <a:pt x="3129" y="5430"/>
                </a:lnTo>
                <a:cubicBezTo>
                  <a:pt x="3203" y="5504"/>
                  <a:pt x="3320" y="5513"/>
                  <a:pt x="3404" y="5451"/>
                </a:cubicBezTo>
                <a:lnTo>
                  <a:pt x="3404" y="5451"/>
                </a:lnTo>
                <a:cubicBezTo>
                  <a:pt x="3903" y="5079"/>
                  <a:pt x="4496" y="4825"/>
                  <a:pt x="5140" y="4731"/>
                </a:cubicBezTo>
                <a:lnTo>
                  <a:pt x="5140" y="4731"/>
                </a:lnTo>
                <a:cubicBezTo>
                  <a:pt x="5244" y="4716"/>
                  <a:pt x="5322" y="4627"/>
                  <a:pt x="5322" y="4522"/>
                </a:cubicBezTo>
                <a:lnTo>
                  <a:pt x="5322" y="219"/>
                </a:lnTo>
                <a:lnTo>
                  <a:pt x="5322" y="219"/>
                </a:lnTo>
                <a:cubicBezTo>
                  <a:pt x="5322" y="97"/>
                  <a:pt x="5219" y="0"/>
                  <a:pt x="5097" y="8"/>
                </a:cubicBezTo>
                <a:lnTo>
                  <a:pt x="5097" y="8"/>
                </a:lnTo>
                <a:cubicBezTo>
                  <a:pt x="3190" y="142"/>
                  <a:pt x="1456" y="900"/>
                  <a:pt x="97" y="2080"/>
                </a:cubicBezTo>
                <a:lnTo>
                  <a:pt x="97" y="2080"/>
                </a:lnTo>
                <a:cubicBezTo>
                  <a:pt x="5" y="2160"/>
                  <a:pt x="0" y="2302"/>
                  <a:pt x="87" y="2388"/>
                </a:cubicBezTo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1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65" b="0" i="0" u="none" strike="noStrike" kern="1200" cap="none" spc="0" normalizeH="0" baseline="0" noProof="0" dirty="0">
              <a:ln>
                <a:noFill/>
              </a:ln>
              <a:solidFill>
                <a:srgbClr val="AAAAA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30" name="Gruppieren 20">
            <a:extLst>
              <a:ext uri="{FF2B5EF4-FFF2-40B4-BE49-F238E27FC236}">
                <a16:creationId xmlns:a16="http://schemas.microsoft.com/office/drawing/2014/main" id="{4332150B-521B-DC65-B587-0BF617E3E8C0}"/>
              </a:ext>
            </a:extLst>
          </p:cNvPr>
          <p:cNvGrpSpPr/>
          <p:nvPr/>
        </p:nvGrpSpPr>
        <p:grpSpPr>
          <a:xfrm>
            <a:off x="8417580" y="2050918"/>
            <a:ext cx="3361097" cy="561164"/>
            <a:chOff x="1528290" y="4385644"/>
            <a:chExt cx="2987337" cy="561164"/>
          </a:xfrm>
        </p:grpSpPr>
        <p:sp>
          <p:nvSpPr>
            <p:cNvPr id="31" name="TextBox 13">
              <a:extLst>
                <a:ext uri="{FF2B5EF4-FFF2-40B4-BE49-F238E27FC236}">
                  <a16:creationId xmlns:a16="http://schemas.microsoft.com/office/drawing/2014/main" id="{2E310018-35FA-ED90-DF88-4EC81D6A8261}"/>
                </a:ext>
              </a:extLst>
            </p:cNvPr>
            <p:cNvSpPr txBox="1"/>
            <p:nvPr/>
          </p:nvSpPr>
          <p:spPr>
            <a:xfrm>
              <a:off x="1528291" y="4385644"/>
              <a:ext cx="2520000" cy="253339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l" defTabSz="914194" rtl="0" eaLnBrk="1" fontAlgn="auto" latinLnBrk="0" hangingPunct="1">
                <a:lnSpc>
                  <a:spcPct val="112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Segoe UI"/>
                  <a:ea typeface="League Spartan" charset="0"/>
                  <a:cs typeface="Poppins" pitchFamily="2" charset="77"/>
                </a:rPr>
                <a:t>Identify the common side effects</a:t>
              </a:r>
            </a:p>
          </p:txBody>
        </p:sp>
        <p:sp>
          <p:nvSpPr>
            <p:cNvPr id="32" name="Subtitle 2">
              <a:extLst>
                <a:ext uri="{FF2B5EF4-FFF2-40B4-BE49-F238E27FC236}">
                  <a16:creationId xmlns:a16="http://schemas.microsoft.com/office/drawing/2014/main" id="{70C301E9-B382-3111-8C0C-9F8253499048}"/>
                </a:ext>
              </a:extLst>
            </p:cNvPr>
            <p:cNvSpPr txBox="1">
              <a:spLocks/>
            </p:cNvSpPr>
            <p:nvPr/>
          </p:nvSpPr>
          <p:spPr>
            <a:xfrm>
              <a:off x="1528290" y="4725144"/>
              <a:ext cx="2987337" cy="22166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43805" rtl="0" eaLnBrk="1" fontAlgn="auto" latinLnBrk="0" hangingPunct="1">
                <a:lnSpc>
                  <a:spcPct val="112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Segoe UI"/>
                  <a:ea typeface="Lato Light" panose="020F0502020204030203" pitchFamily="34" charset="0"/>
                  <a:cs typeface="Mukta ExtraLight" panose="020B0000000000000000" pitchFamily="34" charset="77"/>
                </a:rPr>
                <a:t>Which side effects are the market drivers?</a:t>
              </a:r>
            </a:p>
          </p:txBody>
        </p:sp>
      </p:grpSp>
      <p:pic>
        <p:nvPicPr>
          <p:cNvPr id="42" name="Grafik 61">
            <a:extLst>
              <a:ext uri="{FF2B5EF4-FFF2-40B4-BE49-F238E27FC236}">
                <a16:creationId xmlns:a16="http://schemas.microsoft.com/office/drawing/2014/main" id="{DAB17DD2-FBF5-1E73-BB51-97222F71CE1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4105792" y="3571324"/>
            <a:ext cx="571918" cy="571918"/>
          </a:xfrm>
          <a:prstGeom prst="rect">
            <a:avLst/>
          </a:prstGeom>
        </p:spPr>
      </p:pic>
      <p:pic>
        <p:nvPicPr>
          <p:cNvPr id="43" name="Grafik 62">
            <a:extLst>
              <a:ext uri="{FF2B5EF4-FFF2-40B4-BE49-F238E27FC236}">
                <a16:creationId xmlns:a16="http://schemas.microsoft.com/office/drawing/2014/main" id="{025D79DB-0BA7-D47B-E822-2E1D85860F18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5103760" y="2477825"/>
            <a:ext cx="571918" cy="571918"/>
          </a:xfrm>
          <a:prstGeom prst="rect">
            <a:avLst/>
          </a:prstGeom>
        </p:spPr>
      </p:pic>
      <p:pic>
        <p:nvPicPr>
          <p:cNvPr id="44" name="Grafik 63">
            <a:extLst>
              <a:ext uri="{FF2B5EF4-FFF2-40B4-BE49-F238E27FC236}">
                <a16:creationId xmlns:a16="http://schemas.microsoft.com/office/drawing/2014/main" id="{0D9B80D9-BB4F-A897-9E5F-DFEDDCEDA4C4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6457981" y="2442778"/>
            <a:ext cx="571918" cy="571918"/>
          </a:xfrm>
          <a:prstGeom prst="rect">
            <a:avLst/>
          </a:prstGeom>
        </p:spPr>
      </p:pic>
      <p:pic>
        <p:nvPicPr>
          <p:cNvPr id="45" name="Grafik 64">
            <a:extLst>
              <a:ext uri="{FF2B5EF4-FFF2-40B4-BE49-F238E27FC236}">
                <a16:creationId xmlns:a16="http://schemas.microsoft.com/office/drawing/2014/main" id="{C39911B4-7FFC-9D2A-774C-61CD106F797C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7530673" y="3538112"/>
            <a:ext cx="571918" cy="571918"/>
          </a:xfrm>
          <a:prstGeom prst="rect">
            <a:avLst/>
          </a:prstGeom>
        </p:spPr>
      </p:pic>
      <p:pic>
        <p:nvPicPr>
          <p:cNvPr id="46" name="Grafik 65">
            <a:extLst>
              <a:ext uri="{FF2B5EF4-FFF2-40B4-BE49-F238E27FC236}">
                <a16:creationId xmlns:a16="http://schemas.microsoft.com/office/drawing/2014/main" id="{0F17B1E1-378D-2364-4157-69AFF695010D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7530673" y="4873628"/>
            <a:ext cx="571918" cy="571918"/>
          </a:xfrm>
          <a:prstGeom prst="rect">
            <a:avLst/>
          </a:prstGeom>
        </p:spPr>
      </p:pic>
      <p:pic>
        <p:nvPicPr>
          <p:cNvPr id="47" name="Grafik 66">
            <a:extLst>
              <a:ext uri="{FF2B5EF4-FFF2-40B4-BE49-F238E27FC236}">
                <a16:creationId xmlns:a16="http://schemas.microsoft.com/office/drawing/2014/main" id="{01544D68-76D2-B2E1-C4A5-9A3260A0DA99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4089409" y="4945314"/>
            <a:ext cx="571918" cy="571918"/>
          </a:xfrm>
          <a:prstGeom prst="rect">
            <a:avLst/>
          </a:prstGeom>
        </p:spPr>
      </p:pic>
      <p:grpSp>
        <p:nvGrpSpPr>
          <p:cNvPr id="48" name="Gruppieren 67">
            <a:extLst>
              <a:ext uri="{FF2B5EF4-FFF2-40B4-BE49-F238E27FC236}">
                <a16:creationId xmlns:a16="http://schemas.microsoft.com/office/drawing/2014/main" id="{645C9C81-5620-7DC6-DA0C-0072E88EA1B7}"/>
              </a:ext>
            </a:extLst>
          </p:cNvPr>
          <p:cNvGrpSpPr/>
          <p:nvPr/>
        </p:nvGrpSpPr>
        <p:grpSpPr>
          <a:xfrm>
            <a:off x="8805847" y="4699451"/>
            <a:ext cx="2835290" cy="1164368"/>
            <a:chOff x="1528290" y="4385644"/>
            <a:chExt cx="2520001" cy="1164368"/>
          </a:xfrm>
        </p:grpSpPr>
        <p:sp>
          <p:nvSpPr>
            <p:cNvPr id="49" name="TextBox 13">
              <a:extLst>
                <a:ext uri="{FF2B5EF4-FFF2-40B4-BE49-F238E27FC236}">
                  <a16:creationId xmlns:a16="http://schemas.microsoft.com/office/drawing/2014/main" id="{2A09068E-B94A-5284-45EB-384B54E849A5}"/>
                </a:ext>
              </a:extLst>
            </p:cNvPr>
            <p:cNvSpPr txBox="1"/>
            <p:nvPr/>
          </p:nvSpPr>
          <p:spPr>
            <a:xfrm>
              <a:off x="1528291" y="4385644"/>
              <a:ext cx="2520000" cy="253339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l" defTabSz="914194" rtl="0" eaLnBrk="1" fontAlgn="auto" latinLnBrk="0" hangingPunct="1">
                <a:lnSpc>
                  <a:spcPct val="112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Segoe UI"/>
                  <a:ea typeface="League Spartan" charset="0"/>
                  <a:cs typeface="Poppins" pitchFamily="2" charset="77"/>
                </a:rPr>
                <a:t>Measure sentiments toward</a:t>
              </a:r>
            </a:p>
            <a:p>
              <a:pPr marL="0" marR="0" lvl="0" indent="0" algn="l" defTabSz="914194" rtl="0" eaLnBrk="1" fontAlgn="auto" latinLnBrk="0" hangingPunct="1">
                <a:lnSpc>
                  <a:spcPct val="112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Segoe UI"/>
                  <a:ea typeface="League Spartan" charset="0"/>
                  <a:cs typeface="Poppins" pitchFamily="2" charset="77"/>
                </a:rPr>
                <a:t>specific medications</a:t>
              </a:r>
            </a:p>
          </p:txBody>
        </p:sp>
        <p:sp>
          <p:nvSpPr>
            <p:cNvPr id="50" name="Subtitle 2">
              <a:extLst>
                <a:ext uri="{FF2B5EF4-FFF2-40B4-BE49-F238E27FC236}">
                  <a16:creationId xmlns:a16="http://schemas.microsoft.com/office/drawing/2014/main" id="{DB685C06-F341-08A8-85C3-9D3A93118BEA}"/>
                </a:ext>
              </a:extLst>
            </p:cNvPr>
            <p:cNvSpPr txBox="1">
              <a:spLocks/>
            </p:cNvSpPr>
            <p:nvPr/>
          </p:nvSpPr>
          <p:spPr>
            <a:xfrm>
              <a:off x="1528290" y="4845780"/>
              <a:ext cx="2520000" cy="70423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43805" rtl="0" eaLnBrk="1" fontAlgn="auto" latinLnBrk="0" hangingPunct="1">
                <a:lnSpc>
                  <a:spcPct val="112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Segoe UI"/>
                  <a:ea typeface="Lato Light" panose="020F0502020204030203" pitchFamily="34" charset="0"/>
                  <a:cs typeface="Mukta ExtraLight" panose="020B0000000000000000" pitchFamily="34" charset="77"/>
                </a:rPr>
                <a:t>What attitudes do people have toward specific medications? Negative or positive?</a:t>
              </a:r>
            </a:p>
          </p:txBody>
        </p:sp>
      </p:grpSp>
      <p:grpSp>
        <p:nvGrpSpPr>
          <p:cNvPr id="51" name="Gruppieren 70">
            <a:extLst>
              <a:ext uri="{FF2B5EF4-FFF2-40B4-BE49-F238E27FC236}">
                <a16:creationId xmlns:a16="http://schemas.microsoft.com/office/drawing/2014/main" id="{D2CC3FFF-A87A-3165-5322-FC5F448D19E3}"/>
              </a:ext>
            </a:extLst>
          </p:cNvPr>
          <p:cNvGrpSpPr/>
          <p:nvPr/>
        </p:nvGrpSpPr>
        <p:grpSpPr>
          <a:xfrm>
            <a:off x="2356774" y="1222821"/>
            <a:ext cx="2835289" cy="763306"/>
            <a:chOff x="1528291" y="4385644"/>
            <a:chExt cx="2520000" cy="763306"/>
          </a:xfrm>
        </p:grpSpPr>
        <p:sp>
          <p:nvSpPr>
            <p:cNvPr id="52" name="TextBox 13">
              <a:extLst>
                <a:ext uri="{FF2B5EF4-FFF2-40B4-BE49-F238E27FC236}">
                  <a16:creationId xmlns:a16="http://schemas.microsoft.com/office/drawing/2014/main" id="{F9439A88-4DD0-24AF-DA90-877656E9E082}"/>
                </a:ext>
              </a:extLst>
            </p:cNvPr>
            <p:cNvSpPr txBox="1"/>
            <p:nvPr/>
          </p:nvSpPr>
          <p:spPr>
            <a:xfrm>
              <a:off x="1528291" y="4385644"/>
              <a:ext cx="2520000" cy="253339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l" defTabSz="914194" rtl="0" eaLnBrk="1" fontAlgn="auto" latinLnBrk="0" hangingPunct="1">
                <a:lnSpc>
                  <a:spcPct val="112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Segoe UI"/>
                  <a:ea typeface="League Spartan" charset="0"/>
                  <a:cs typeface="Poppins" pitchFamily="2" charset="77"/>
                </a:rPr>
                <a:t>Categorize drug reviews</a:t>
              </a:r>
            </a:p>
          </p:txBody>
        </p:sp>
        <p:sp>
          <p:nvSpPr>
            <p:cNvPr id="53" name="Subtitle 2">
              <a:extLst>
                <a:ext uri="{FF2B5EF4-FFF2-40B4-BE49-F238E27FC236}">
                  <a16:creationId xmlns:a16="http://schemas.microsoft.com/office/drawing/2014/main" id="{EE9AB69B-48B1-9D27-D316-B5C189E0FFA9}"/>
                </a:ext>
              </a:extLst>
            </p:cNvPr>
            <p:cNvSpPr txBox="1">
              <a:spLocks/>
            </p:cNvSpPr>
            <p:nvPr/>
          </p:nvSpPr>
          <p:spPr>
            <a:xfrm>
              <a:off x="1528291" y="4686259"/>
              <a:ext cx="2520000" cy="46269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43805" rtl="0" eaLnBrk="1" fontAlgn="auto" latinLnBrk="0" hangingPunct="1">
                <a:lnSpc>
                  <a:spcPct val="112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Segoe UI"/>
                  <a:ea typeface="Lato Light" panose="020F0502020204030203" pitchFamily="34" charset="0"/>
                  <a:cs typeface="Mukta ExtraLight" panose="020B0000000000000000" pitchFamily="34" charset="77"/>
                </a:rPr>
                <a:t>Which categories do these reviews fall into</a:t>
              </a:r>
              <a:r>
                <a:rPr lang="en-US" sz="140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Segoe UI"/>
                  <a:ea typeface="Lato Light" panose="020F0502020204030203" pitchFamily="34" charset="0"/>
                  <a:cs typeface="Mukta ExtraLight" panose="020B0000000000000000" pitchFamily="34" charset="77"/>
                </a:rPr>
                <a:t>?</a:t>
              </a: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Segoe UI"/>
                  <a:ea typeface="Lato Light" panose="020F0502020204030203" pitchFamily="34" charset="0"/>
                  <a:cs typeface="Mukta ExtraLight" panose="020B0000000000000000" pitchFamily="34" charset="77"/>
                </a:rPr>
                <a:t> Side effect or effectiveness</a:t>
              </a: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Segoe UI"/>
                  <a:ea typeface="Lato Light" panose="020F0502020204030203" pitchFamily="34" charset="0"/>
                  <a:cs typeface="Mukta ExtraLight" panose="020B0000000000000000" pitchFamily="34" charset="77"/>
                </a:rPr>
                <a:t>？</a:t>
              </a: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Segoe UI"/>
                <a:ea typeface="Lato Light" panose="020F0502020204030203" pitchFamily="34" charset="0"/>
                <a:cs typeface="Mukta ExtraLight" panose="020B0000000000000000" pitchFamily="34" charset="77"/>
              </a:endParaRPr>
            </a:p>
          </p:txBody>
        </p:sp>
      </p:grpSp>
      <p:grpSp>
        <p:nvGrpSpPr>
          <p:cNvPr id="60" name="Gruppieren 79">
            <a:extLst>
              <a:ext uri="{FF2B5EF4-FFF2-40B4-BE49-F238E27FC236}">
                <a16:creationId xmlns:a16="http://schemas.microsoft.com/office/drawing/2014/main" id="{9263F5A2-A84B-0D3B-BCB3-9190534EDD25}"/>
              </a:ext>
            </a:extLst>
          </p:cNvPr>
          <p:cNvGrpSpPr/>
          <p:nvPr/>
        </p:nvGrpSpPr>
        <p:grpSpPr>
          <a:xfrm>
            <a:off x="700983" y="3189362"/>
            <a:ext cx="2835290" cy="792615"/>
            <a:chOff x="1528290" y="4385644"/>
            <a:chExt cx="2520001" cy="792615"/>
          </a:xfrm>
        </p:grpSpPr>
        <p:sp>
          <p:nvSpPr>
            <p:cNvPr id="61" name="TextBox 13">
              <a:extLst>
                <a:ext uri="{FF2B5EF4-FFF2-40B4-BE49-F238E27FC236}">
                  <a16:creationId xmlns:a16="http://schemas.microsoft.com/office/drawing/2014/main" id="{E3625D76-40F8-7A8D-11B6-68277BB08E19}"/>
                </a:ext>
              </a:extLst>
            </p:cNvPr>
            <p:cNvSpPr txBox="1"/>
            <p:nvPr/>
          </p:nvSpPr>
          <p:spPr>
            <a:xfrm>
              <a:off x="1528291" y="4385644"/>
              <a:ext cx="2520000" cy="253339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r" defTabSz="914194" rtl="0" eaLnBrk="1" fontAlgn="auto" latinLnBrk="0" hangingPunct="1">
                <a:lnSpc>
                  <a:spcPct val="112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Segoe UI"/>
                  <a:ea typeface="League Spartan" charset="0"/>
                  <a:cs typeface="Poppins" pitchFamily="2" charset="77"/>
                </a:rPr>
                <a:t>Connect to patient demographics</a:t>
              </a:r>
            </a:p>
          </p:txBody>
        </p:sp>
        <p:sp>
          <p:nvSpPr>
            <p:cNvPr id="62" name="Subtitle 2">
              <a:extLst>
                <a:ext uri="{FF2B5EF4-FFF2-40B4-BE49-F238E27FC236}">
                  <a16:creationId xmlns:a16="http://schemas.microsoft.com/office/drawing/2014/main" id="{2F1834BE-30D2-E3FF-F7B2-BB3ECD6A3FD7}"/>
                </a:ext>
              </a:extLst>
            </p:cNvPr>
            <p:cNvSpPr txBox="1">
              <a:spLocks/>
            </p:cNvSpPr>
            <p:nvPr/>
          </p:nvSpPr>
          <p:spPr>
            <a:xfrm>
              <a:off x="1528290" y="4715312"/>
              <a:ext cx="2520000" cy="46294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543805" rtl="0" eaLnBrk="1" fontAlgn="auto" latinLnBrk="0" hangingPunct="1">
                <a:lnSpc>
                  <a:spcPct val="112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Segoe UI"/>
                  <a:ea typeface="Lato Light" panose="020F0502020204030203" pitchFamily="34" charset="0"/>
                  <a:cs typeface="Mukta ExtraLight" panose="020B0000000000000000" pitchFamily="34" charset="77"/>
                </a:rPr>
                <a:t>What are the demographics for each side effect?</a:t>
              </a:r>
            </a:p>
          </p:txBody>
        </p:sp>
      </p:grpSp>
      <p:sp>
        <p:nvSpPr>
          <p:cNvPr id="63" name="TextBox 62">
            <a:extLst>
              <a:ext uri="{FF2B5EF4-FFF2-40B4-BE49-F238E27FC236}">
                <a16:creationId xmlns:a16="http://schemas.microsoft.com/office/drawing/2014/main" id="{079BF2C4-CF84-C718-F7E7-FBD672A83038}"/>
              </a:ext>
            </a:extLst>
          </p:cNvPr>
          <p:cNvSpPr txBox="1"/>
          <p:nvPr/>
        </p:nvSpPr>
        <p:spPr>
          <a:xfrm>
            <a:off x="5348644" y="3533123"/>
            <a:ext cx="1552442" cy="22810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007A94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BART Mode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007A94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+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007A94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7A94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ug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7A94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007A94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eviews</a:t>
            </a: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srgbClr val="007A94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8202344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Reviews about Side Effects/Effectiveness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836CADF-AAD5-890E-28DB-2C172C417A8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600016" y="2688709"/>
            <a:ext cx="5116164" cy="374925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F44DDFDE-A832-0CA9-44D4-88F6B9A7331B}"/>
              </a:ext>
            </a:extLst>
          </p:cNvPr>
          <p:cNvSpPr txBox="1"/>
          <p:nvPr/>
        </p:nvSpPr>
        <p:spPr>
          <a:xfrm>
            <a:off x="7094904" y="1895867"/>
            <a:ext cx="3293695" cy="646331"/>
          </a:xfrm>
          <a:prstGeom prst="rect">
            <a:avLst/>
          </a:prstGeom>
          <a:noFill/>
          <a:ln>
            <a:solidFill>
              <a:sysClr val="window" lastClr="FFFFFF">
                <a:lumMod val="65000"/>
              </a:sysClr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Majority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of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h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reviews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related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o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effectiveness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wer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positive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5AA8E1A-5187-549A-D58C-FF2F7A31A655}"/>
              </a:ext>
            </a:extLst>
          </p:cNvPr>
          <p:cNvSpPr txBox="1"/>
          <p:nvPr/>
        </p:nvSpPr>
        <p:spPr>
          <a:xfrm rot="16200000">
            <a:off x="7604987" y="924119"/>
            <a:ext cx="461665" cy="1481828"/>
          </a:xfrm>
          <a:prstGeom prst="rect">
            <a:avLst/>
          </a:prstGeom>
          <a:solidFill>
            <a:srgbClr val="4472C4">
              <a:lumMod val="40000"/>
              <a:lumOff val="60000"/>
            </a:srgbClr>
          </a:solidFill>
        </p:spPr>
        <p:txBody>
          <a:bodyPr vert="eaVert"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Observation: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10E4DE25-1860-7AB2-AA44-0EC86D9B7BE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4654" y="2688708"/>
            <a:ext cx="5116164" cy="3749250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793BCB18-3A3D-FA51-01BB-888AA072F06A}"/>
              </a:ext>
            </a:extLst>
          </p:cNvPr>
          <p:cNvSpPr txBox="1"/>
          <p:nvPr/>
        </p:nvSpPr>
        <p:spPr>
          <a:xfrm>
            <a:off x="1213511" y="1895866"/>
            <a:ext cx="3293695" cy="646331"/>
          </a:xfrm>
          <a:prstGeom prst="rect">
            <a:avLst/>
          </a:prstGeom>
          <a:noFill/>
          <a:ln>
            <a:solidFill>
              <a:sysClr val="window" lastClr="FFFFFF">
                <a:lumMod val="65000"/>
              </a:sysClr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Almost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all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reviews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were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related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to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side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effects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.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E62EAEC-B0FF-B284-7C33-4A182C2C3786}"/>
              </a:ext>
            </a:extLst>
          </p:cNvPr>
          <p:cNvSpPr txBox="1"/>
          <p:nvPr/>
        </p:nvSpPr>
        <p:spPr>
          <a:xfrm rot="16200000">
            <a:off x="1723594" y="924118"/>
            <a:ext cx="461665" cy="1481828"/>
          </a:xfrm>
          <a:prstGeom prst="rect">
            <a:avLst/>
          </a:prstGeom>
          <a:solidFill>
            <a:srgbClr val="4472C4">
              <a:lumMod val="40000"/>
              <a:lumOff val="60000"/>
            </a:srgbClr>
          </a:solidFill>
        </p:spPr>
        <p:txBody>
          <a:bodyPr vert="eaVert"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Observation:</a:t>
            </a:r>
          </a:p>
        </p:txBody>
      </p:sp>
    </p:spTree>
    <p:extLst>
      <p:ext uri="{BB962C8B-B14F-4D97-AF65-F5344CB8AC3E}">
        <p14:creationId xmlns:p14="http://schemas.microsoft.com/office/powerpoint/2010/main" val="180950840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Identifying Specific Side Effects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080B666-1511-4F28-3C55-37EF7CB0B76D}"/>
              </a:ext>
            </a:extLst>
          </p:cNvPr>
          <p:cNvGrpSpPr/>
          <p:nvPr/>
        </p:nvGrpSpPr>
        <p:grpSpPr>
          <a:xfrm>
            <a:off x="972824" y="1153871"/>
            <a:ext cx="4391638" cy="5129625"/>
            <a:chOff x="550799" y="1013196"/>
            <a:chExt cx="4391638" cy="5129625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D6705DCD-E476-8E9E-C833-709CBF3F29AA}"/>
                </a:ext>
              </a:extLst>
            </p:cNvPr>
            <p:cNvGrpSpPr/>
            <p:nvPr/>
          </p:nvGrpSpPr>
          <p:grpSpPr>
            <a:xfrm>
              <a:off x="550799" y="1013196"/>
              <a:ext cx="4391638" cy="5129625"/>
              <a:chOff x="466868" y="883800"/>
              <a:chExt cx="4391638" cy="5129625"/>
            </a:xfrm>
          </p:grpSpPr>
          <p:pic>
            <p:nvPicPr>
              <p:cNvPr id="7" name="Picture 6">
                <a:extLst>
                  <a:ext uri="{FF2B5EF4-FFF2-40B4-BE49-F238E27FC236}">
                    <a16:creationId xmlns:a16="http://schemas.microsoft.com/office/drawing/2014/main" id="{A232C964-0721-6A3D-C270-6867880922A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l="1880" t="15366" r="1880"/>
              <a:stretch/>
            </p:blipFill>
            <p:spPr>
              <a:xfrm>
                <a:off x="466868" y="5723175"/>
                <a:ext cx="4391638" cy="290250"/>
              </a:xfrm>
              <a:prstGeom prst="rect">
                <a:avLst/>
              </a:prstGeom>
            </p:spPr>
          </p:pic>
          <p:pic>
            <p:nvPicPr>
              <p:cNvPr id="4" name="Picture 3">
                <a:extLst>
                  <a:ext uri="{FF2B5EF4-FFF2-40B4-BE49-F238E27FC236}">
                    <a16:creationId xmlns:a16="http://schemas.microsoft.com/office/drawing/2014/main" id="{11B6E263-167C-1973-8C3F-191D9F00F0F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66868" y="883800"/>
                <a:ext cx="4391638" cy="4839375"/>
              </a:xfrm>
              <a:prstGeom prst="rect">
                <a:avLst/>
              </a:prstGeom>
            </p:spPr>
          </p:pic>
        </p:grp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6E8600B-F715-86D9-DEA2-9017258AE80D}"/>
                </a:ext>
              </a:extLst>
            </p:cNvPr>
            <p:cNvSpPr/>
            <p:nvPr/>
          </p:nvSpPr>
          <p:spPr>
            <a:xfrm>
              <a:off x="862642" y="1630392"/>
              <a:ext cx="793630" cy="290250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tx1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F27909F-FE60-A92E-7D27-F6957EABB653}"/>
                </a:ext>
              </a:extLst>
            </p:cNvPr>
            <p:cNvSpPr/>
            <p:nvPr/>
          </p:nvSpPr>
          <p:spPr>
            <a:xfrm>
              <a:off x="862642" y="2617038"/>
              <a:ext cx="793630" cy="290250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tx1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5B0F14F2-E385-BA81-8AEC-E6341AC5B9BE}"/>
                </a:ext>
              </a:extLst>
            </p:cNvPr>
            <p:cNvSpPr/>
            <p:nvPr/>
          </p:nvSpPr>
          <p:spPr>
            <a:xfrm>
              <a:off x="862642" y="2970550"/>
              <a:ext cx="793630" cy="290250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tx1"/>
                </a:solidFill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DEB6E261-834F-DDC2-39AA-A8F9163AA304}"/>
                </a:ext>
              </a:extLst>
            </p:cNvPr>
            <p:cNvSpPr/>
            <p:nvPr/>
          </p:nvSpPr>
          <p:spPr>
            <a:xfrm>
              <a:off x="793630" y="3260800"/>
              <a:ext cx="862642" cy="290250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tx1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40BE8196-8B2B-4D9B-A3EF-223E0383105C}"/>
                </a:ext>
              </a:extLst>
            </p:cNvPr>
            <p:cNvSpPr/>
            <p:nvPr/>
          </p:nvSpPr>
          <p:spPr>
            <a:xfrm>
              <a:off x="862642" y="4559387"/>
              <a:ext cx="793630" cy="290250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tx1"/>
                </a:solidFill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8A109031-36ED-7DC3-7372-7DCF027E8AAC}"/>
                </a:ext>
              </a:extLst>
            </p:cNvPr>
            <p:cNvSpPr/>
            <p:nvPr/>
          </p:nvSpPr>
          <p:spPr>
            <a:xfrm>
              <a:off x="862642" y="5546033"/>
              <a:ext cx="793630" cy="290250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9A9A9CB3-6D19-4635-4B62-0C342B76D7BB}"/>
              </a:ext>
            </a:extLst>
          </p:cNvPr>
          <p:cNvSpPr txBox="1"/>
          <p:nvPr/>
        </p:nvSpPr>
        <p:spPr>
          <a:xfrm>
            <a:off x="6315807" y="1870371"/>
            <a:ext cx="4802234" cy="336135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buClr>
                <a:schemeClr val="accent1"/>
              </a:buClr>
            </a:pPr>
            <a:r>
              <a:rPr lang="en-GB" sz="1600" b="1" dirty="0"/>
              <a:t>Side Effect Labels for Zero-Shot Classification</a:t>
            </a:r>
          </a:p>
          <a:p>
            <a:pPr>
              <a:buClr>
                <a:schemeClr val="accent1"/>
              </a:buClr>
            </a:pPr>
            <a:endParaRPr lang="en-GB" sz="1600" b="1" dirty="0"/>
          </a:p>
          <a:p>
            <a:pPr marL="639763" lvl="1" indent="-182563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Limb pain</a:t>
            </a:r>
          </a:p>
          <a:p>
            <a:pPr marL="639763" lvl="1" indent="-182563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Gastrointestinal</a:t>
            </a:r>
          </a:p>
          <a:p>
            <a:pPr marL="639763" lvl="1" indent="-182563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Dental</a:t>
            </a:r>
          </a:p>
          <a:p>
            <a:pPr marL="639763" lvl="1" indent="-182563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Cardiac</a:t>
            </a:r>
          </a:p>
          <a:p>
            <a:pPr marL="639763" lvl="1" indent="-182563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Dermatological</a:t>
            </a:r>
          </a:p>
          <a:p>
            <a:pPr marL="639763" lvl="1" indent="-182563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Respiratory</a:t>
            </a:r>
          </a:p>
          <a:p>
            <a:pPr marL="639763" lvl="1" indent="-182563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eight gain and loss</a:t>
            </a:r>
          </a:p>
          <a:p>
            <a:pPr marL="639763" lvl="1" indent="-182563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Headache</a:t>
            </a:r>
          </a:p>
          <a:p>
            <a:pPr marL="639763" lvl="1" indent="-182563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Menstrual</a:t>
            </a:r>
          </a:p>
          <a:p>
            <a:pPr marL="639763" lvl="1" indent="-182563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Fatigue</a:t>
            </a:r>
          </a:p>
          <a:p>
            <a:pPr marL="639763" lvl="1" indent="-182563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Body Temperature</a:t>
            </a:r>
          </a:p>
        </p:txBody>
      </p:sp>
    </p:spTree>
    <p:extLst>
      <p:ext uri="{BB962C8B-B14F-4D97-AF65-F5344CB8AC3E}">
        <p14:creationId xmlns:p14="http://schemas.microsoft.com/office/powerpoint/2010/main" val="341255756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Zero Shot Classification - Example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5DBFDC2-D99C-A051-6A9F-C3A517253CBC}"/>
              </a:ext>
            </a:extLst>
          </p:cNvPr>
          <p:cNvSpPr txBox="1"/>
          <p:nvPr/>
        </p:nvSpPr>
        <p:spPr>
          <a:xfrm>
            <a:off x="550799" y="1250598"/>
            <a:ext cx="10125116" cy="162971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buClr>
                <a:schemeClr val="accent1"/>
              </a:buClr>
            </a:pPr>
            <a:r>
              <a:rPr lang="en-GB" sz="1400" b="1" dirty="0"/>
              <a:t>Review1: </a:t>
            </a:r>
          </a:p>
          <a:p>
            <a:pPr>
              <a:buClr>
                <a:schemeClr val="accent1"/>
              </a:buClr>
            </a:pPr>
            <a:r>
              <a:rPr lang="en-US" sz="1400" b="0" i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 have had no side effects other than a mild headache the day after. </a:t>
            </a:r>
          </a:p>
          <a:p>
            <a:pPr>
              <a:buClr>
                <a:schemeClr val="accent1"/>
              </a:buClr>
            </a:pPr>
            <a:r>
              <a:rPr lang="en-US" sz="1400" b="0" i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 am hopeful and will definitely continue with the yearly injection. </a:t>
            </a:r>
            <a:endParaRPr lang="en-GB" sz="1400" dirty="0"/>
          </a:p>
          <a:p>
            <a:pPr>
              <a:buClr>
                <a:schemeClr val="accent1"/>
              </a:buClr>
            </a:pPr>
            <a:endParaRPr lang="en-GB" sz="1400" b="1" dirty="0"/>
          </a:p>
          <a:p>
            <a:pPr>
              <a:buClr>
                <a:schemeClr val="accent1"/>
              </a:buClr>
            </a:pPr>
            <a:r>
              <a:rPr lang="en-GB" sz="1400" b="1" dirty="0"/>
              <a:t>Review2:</a:t>
            </a:r>
          </a:p>
          <a:p>
            <a:pPr>
              <a:buClr>
                <a:schemeClr val="accent1"/>
              </a:buClr>
            </a:pPr>
            <a:r>
              <a:rPr lang="en-US" sz="1400" b="0" i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Afte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r taking this medication </a:t>
            </a:r>
            <a:r>
              <a:rPr lang="en-US" sz="1400" b="0" i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he bones in my chest ached and I had lower back and hip pains, </a:t>
            </a:r>
          </a:p>
          <a:p>
            <a:pPr>
              <a:buClr>
                <a:schemeClr val="accent1"/>
              </a:buClr>
            </a:pPr>
            <a:r>
              <a:rPr lang="en-US" sz="1400" b="0" i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and I was very tired and weak. The next morning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en-US" sz="1400" b="0" i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 had intermittent nausea and dry heaves. </a:t>
            </a:r>
          </a:p>
          <a:p>
            <a:pPr>
              <a:buClr>
                <a:schemeClr val="accent1"/>
              </a:buClr>
            </a:pPr>
            <a:r>
              <a:rPr lang="en-US" sz="1400" b="0" i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rinking lots of water helped with the nausea. I regained most of my strength two days later.</a:t>
            </a:r>
            <a:endParaRPr lang="en-GB" sz="1400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8674834-3A2B-B423-FE42-2FA6927B57CF}"/>
              </a:ext>
            </a:extLst>
          </p:cNvPr>
          <p:cNvGrpSpPr/>
          <p:nvPr/>
        </p:nvGrpSpPr>
        <p:grpSpPr>
          <a:xfrm>
            <a:off x="319572" y="3305614"/>
            <a:ext cx="11773920" cy="789643"/>
            <a:chOff x="319572" y="3265421"/>
            <a:chExt cx="11773920" cy="789643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F86245A2-E9A6-32B3-B3A8-4152A6D9FB5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19572" y="3265421"/>
              <a:ext cx="11773920" cy="548688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C6D13B00-3479-9FE4-28D9-576B1670573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87226" y="3780720"/>
              <a:ext cx="11606266" cy="27434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2152918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Zero Shot Classification - Example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5DBFDC2-D99C-A051-6A9F-C3A517253CBC}"/>
              </a:ext>
            </a:extLst>
          </p:cNvPr>
          <p:cNvSpPr txBox="1"/>
          <p:nvPr/>
        </p:nvSpPr>
        <p:spPr>
          <a:xfrm>
            <a:off x="550799" y="1250598"/>
            <a:ext cx="10125116" cy="162971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buClr>
                <a:schemeClr val="accent1"/>
              </a:buClr>
            </a:pPr>
            <a:r>
              <a:rPr lang="en-GB" sz="1400" b="1" dirty="0"/>
              <a:t>Review1: </a:t>
            </a:r>
          </a:p>
          <a:p>
            <a:pPr>
              <a:buClr>
                <a:schemeClr val="accent1"/>
              </a:buClr>
            </a:pPr>
            <a:r>
              <a:rPr lang="en-US" sz="1400" b="0" i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 have had no side effects other than a mild headache the day after. </a:t>
            </a:r>
          </a:p>
          <a:p>
            <a:pPr>
              <a:buClr>
                <a:schemeClr val="accent1"/>
              </a:buClr>
            </a:pPr>
            <a:r>
              <a:rPr lang="en-US" sz="1400" b="0" i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 am hopeful and will definitely continue with the yearly injection. </a:t>
            </a:r>
            <a:endParaRPr lang="en-GB" sz="1400" dirty="0"/>
          </a:p>
          <a:p>
            <a:pPr>
              <a:buClr>
                <a:schemeClr val="accent1"/>
              </a:buClr>
            </a:pPr>
            <a:endParaRPr lang="en-GB" sz="1400" b="1" dirty="0"/>
          </a:p>
          <a:p>
            <a:pPr>
              <a:buClr>
                <a:schemeClr val="accent1"/>
              </a:buClr>
            </a:pPr>
            <a:r>
              <a:rPr lang="en-GB" sz="1400" b="1" dirty="0"/>
              <a:t>Review2:</a:t>
            </a:r>
          </a:p>
          <a:p>
            <a:pPr>
              <a:buClr>
                <a:schemeClr val="accent1"/>
              </a:buClr>
            </a:pPr>
            <a:r>
              <a:rPr lang="en-US" sz="1400" b="0" i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Afte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r taking this medication </a:t>
            </a:r>
            <a:r>
              <a:rPr lang="en-US" sz="1400" b="0" i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he bones in my chest ached and I had lower back and hip pains, </a:t>
            </a:r>
          </a:p>
          <a:p>
            <a:pPr>
              <a:buClr>
                <a:schemeClr val="accent1"/>
              </a:buClr>
            </a:pPr>
            <a:r>
              <a:rPr lang="en-US" sz="1400" b="0" i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and I was very tired and weak. The next morning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en-US" sz="1400" b="0" i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 had intermittent nausea and dry heaves. </a:t>
            </a:r>
          </a:p>
          <a:p>
            <a:pPr>
              <a:buClr>
                <a:schemeClr val="accent1"/>
              </a:buClr>
            </a:pPr>
            <a:r>
              <a:rPr lang="en-US" sz="1400" b="0" i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rinking lots of water helped with the nausea. I regained most of my strength two days later.</a:t>
            </a:r>
            <a:endParaRPr lang="en-GB" sz="1400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8674834-3A2B-B423-FE42-2FA6927B57CF}"/>
              </a:ext>
            </a:extLst>
          </p:cNvPr>
          <p:cNvGrpSpPr/>
          <p:nvPr/>
        </p:nvGrpSpPr>
        <p:grpSpPr>
          <a:xfrm>
            <a:off x="319572" y="3305614"/>
            <a:ext cx="11773920" cy="789643"/>
            <a:chOff x="319572" y="3265421"/>
            <a:chExt cx="11773920" cy="789643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F86245A2-E9A6-32B3-B3A8-4152A6D9FB5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19572" y="3265421"/>
              <a:ext cx="11773920" cy="548688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C6D13B00-3479-9FE4-28D9-576B1670573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87226" y="3780720"/>
              <a:ext cx="11606266" cy="274344"/>
            </a:xfrm>
            <a:prstGeom prst="rect">
              <a:avLst/>
            </a:prstGeom>
          </p:spPr>
        </p:pic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8609CA02-C376-8C2D-ACB1-64EB45336E08}"/>
              </a:ext>
            </a:extLst>
          </p:cNvPr>
          <p:cNvSpPr/>
          <p:nvPr/>
        </p:nvSpPr>
        <p:spPr>
          <a:xfrm>
            <a:off x="8157715" y="3615701"/>
            <a:ext cx="690113" cy="198408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42629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Background. </a:t>
            </a:r>
            <a:r>
              <a:rPr lang="en-US" b="0" dirty="0"/>
              <a:t>A Client Launched a New Medication</a:t>
            </a:r>
          </a:p>
        </p:txBody>
      </p:sp>
      <p:pic>
        <p:nvPicPr>
          <p:cNvPr id="12" name="Picture 11" descr="Graph on document with pen">
            <a:extLst>
              <a:ext uri="{FF2B5EF4-FFF2-40B4-BE49-F238E27FC236}">
                <a16:creationId xmlns:a16="http://schemas.microsoft.com/office/drawing/2014/main" id="{4AB06FE0-2A0B-40CD-ACED-8F0C7D6AB523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049" b="16049"/>
          <a:stretch/>
        </p:blipFill>
        <p:spPr>
          <a:xfrm>
            <a:off x="0" y="1665962"/>
            <a:ext cx="12192000" cy="5192038"/>
          </a:xfrm>
          <a:prstGeom prst="rect">
            <a:avLst/>
          </a:prstGeom>
        </p:spPr>
      </p:pic>
      <p:sp>
        <p:nvSpPr>
          <p:cNvPr id="13" name="Title 8">
            <a:extLst>
              <a:ext uri="{FF2B5EF4-FFF2-40B4-BE49-F238E27FC236}">
                <a16:creationId xmlns:a16="http://schemas.microsoft.com/office/drawing/2014/main" id="{24E5262C-A45B-483B-BEB9-E1DF12C41984}"/>
              </a:ext>
            </a:extLst>
          </p:cNvPr>
          <p:cNvSpPr txBox="1">
            <a:spLocks/>
          </p:cNvSpPr>
          <p:nvPr/>
        </p:nvSpPr>
        <p:spPr>
          <a:xfrm>
            <a:off x="550800" y="2877591"/>
            <a:ext cx="8465381" cy="3560368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65760" marR="0" lvl="0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8CAA"/>
              </a:solidFill>
              <a:effectLst/>
              <a:uLnTx/>
              <a:uFillTx/>
              <a:latin typeface="Segoe UI"/>
              <a:ea typeface="+mj-ea"/>
              <a:cs typeface="+mj-cs"/>
            </a:endParaRPr>
          </a:p>
          <a:p>
            <a:pPr marL="27432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008CAA"/>
                </a:solidFill>
                <a:effectLst/>
                <a:uLnTx/>
                <a:uFillTx/>
                <a:latin typeface="Segoe UI"/>
                <a:ea typeface="+mj-ea"/>
                <a:cs typeface="+mj-cs"/>
              </a:rPr>
              <a:t>2017 – FDA approves the new medication to treat postmenopausal osteoporosis in the US</a:t>
            </a:r>
          </a:p>
          <a:p>
            <a:pPr marL="27432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rgbClr val="008CAA"/>
                </a:solidFill>
                <a:latin typeface="Segoe UI"/>
              </a:rPr>
              <a:t>2021 – FDA approves the removal of some warnings of the new medication</a:t>
            </a:r>
          </a:p>
          <a:p>
            <a:pPr marL="27432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8CAA"/>
              </a:solidFill>
              <a:effectLst/>
              <a:uLnTx/>
              <a:uFillTx/>
              <a:latin typeface="Segoe UI"/>
              <a:ea typeface="+mj-ea"/>
              <a:cs typeface="+mj-cs"/>
            </a:endParaRPr>
          </a:p>
          <a:p>
            <a:pPr marL="27432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8CAA"/>
                </a:solidFill>
                <a:effectLst/>
                <a:uLnTx/>
                <a:uFillTx/>
                <a:latin typeface="Segoe UI"/>
                <a:ea typeface="+mj-ea"/>
                <a:cs typeface="+mj-cs"/>
              </a:rPr>
              <a:t>Research Needs: </a:t>
            </a:r>
          </a:p>
          <a:p>
            <a:pPr marL="708660" marR="0" lvl="0" indent="-34290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8CAA"/>
                </a:solidFill>
                <a:effectLst/>
                <a:uLnTx/>
                <a:uFillTx/>
                <a:latin typeface="Segoe UI"/>
                <a:ea typeface="+mj-ea"/>
                <a:cs typeface="+mj-cs"/>
              </a:rPr>
              <a:t>Which drugs are leading the osteoporosis market?</a:t>
            </a:r>
          </a:p>
          <a:p>
            <a:pPr marL="708660" marR="0" lvl="0" indent="-34290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8CAA"/>
                </a:solidFill>
                <a:effectLst/>
                <a:uLnTx/>
                <a:uFillTx/>
                <a:latin typeface="Segoe UI"/>
                <a:ea typeface="+mj-ea"/>
                <a:cs typeface="+mj-cs"/>
              </a:rPr>
              <a:t>Who are the target demographics?</a:t>
            </a:r>
          </a:p>
          <a:p>
            <a:pPr marL="708660" marR="0" lvl="0" indent="-34290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1800" dirty="0">
                <a:solidFill>
                  <a:srgbClr val="008CAA"/>
                </a:solidFill>
                <a:latin typeface="Segoe UI"/>
              </a:rPr>
              <a:t>What are the market drivers?</a:t>
            </a:r>
          </a:p>
          <a:p>
            <a:pPr marL="708660" marR="0" lvl="0" indent="-34290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1800" dirty="0">
                <a:solidFill>
                  <a:srgbClr val="008CAA"/>
                </a:solidFill>
                <a:latin typeface="Segoe UI"/>
              </a:rPr>
              <a:t>How can the new medication disrupt the market?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8CAA"/>
              </a:solidFill>
              <a:effectLst/>
              <a:uLnTx/>
              <a:uFillTx/>
              <a:latin typeface="Segoe UI"/>
              <a:ea typeface="+mj-ea"/>
              <a:cs typeface="+mj-cs"/>
            </a:endParaRPr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207105" y="653997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r>
              <a:rPr kumimoji="0" lang="de-DE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4659016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Zero Shot Classification - Example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5DBFDC2-D99C-A051-6A9F-C3A517253CBC}"/>
              </a:ext>
            </a:extLst>
          </p:cNvPr>
          <p:cNvSpPr txBox="1"/>
          <p:nvPr/>
        </p:nvSpPr>
        <p:spPr>
          <a:xfrm>
            <a:off x="550799" y="1250598"/>
            <a:ext cx="10125116" cy="162971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buClr>
                <a:schemeClr val="accent1"/>
              </a:buClr>
            </a:pPr>
            <a:r>
              <a:rPr lang="en-GB" sz="1400" b="1" dirty="0"/>
              <a:t>Review1: </a:t>
            </a:r>
          </a:p>
          <a:p>
            <a:pPr>
              <a:buClr>
                <a:schemeClr val="accent1"/>
              </a:buClr>
            </a:pPr>
            <a:r>
              <a:rPr lang="en-US" sz="1400" b="0" i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 have had no side effects other than a mild headache the day after. </a:t>
            </a:r>
          </a:p>
          <a:p>
            <a:pPr>
              <a:buClr>
                <a:schemeClr val="accent1"/>
              </a:buClr>
            </a:pPr>
            <a:r>
              <a:rPr lang="en-US" sz="1400" b="0" i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 am hopeful and will definitely continue with the yearly injection. </a:t>
            </a:r>
            <a:endParaRPr lang="en-GB" sz="1400" dirty="0"/>
          </a:p>
          <a:p>
            <a:pPr>
              <a:buClr>
                <a:schemeClr val="accent1"/>
              </a:buClr>
            </a:pPr>
            <a:endParaRPr lang="en-GB" sz="1400" b="1" dirty="0"/>
          </a:p>
          <a:p>
            <a:pPr>
              <a:buClr>
                <a:schemeClr val="accent1"/>
              </a:buClr>
            </a:pPr>
            <a:r>
              <a:rPr lang="en-GB" sz="1400" b="1" dirty="0"/>
              <a:t>Review2:</a:t>
            </a:r>
          </a:p>
          <a:p>
            <a:pPr>
              <a:buClr>
                <a:schemeClr val="accent1"/>
              </a:buClr>
            </a:pPr>
            <a:r>
              <a:rPr lang="en-US" sz="1400" b="0" i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Afte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r taking this medication </a:t>
            </a:r>
            <a:r>
              <a:rPr lang="en-US" sz="1400" b="0" i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he bones in my chest ached and I had lower back and hip pains, </a:t>
            </a:r>
          </a:p>
          <a:p>
            <a:pPr>
              <a:buClr>
                <a:schemeClr val="accent1"/>
              </a:buClr>
            </a:pPr>
            <a:r>
              <a:rPr lang="en-US" sz="1400" b="0" i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and I was very tired and weak. The next morning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en-US" sz="1400" b="0" i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 had intermittent nausea and dry heaves. </a:t>
            </a:r>
          </a:p>
          <a:p>
            <a:pPr>
              <a:buClr>
                <a:schemeClr val="accent1"/>
              </a:buClr>
            </a:pPr>
            <a:r>
              <a:rPr lang="en-US" sz="1400" b="0" i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rinking lots of water helped with the nausea. I regained most of my strength two days later.</a:t>
            </a:r>
            <a:endParaRPr lang="en-GB" sz="1400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8674834-3A2B-B423-FE42-2FA6927B57CF}"/>
              </a:ext>
            </a:extLst>
          </p:cNvPr>
          <p:cNvGrpSpPr/>
          <p:nvPr/>
        </p:nvGrpSpPr>
        <p:grpSpPr>
          <a:xfrm>
            <a:off x="319572" y="3305614"/>
            <a:ext cx="11773920" cy="789643"/>
            <a:chOff x="319572" y="3265421"/>
            <a:chExt cx="11773920" cy="789643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F86245A2-E9A6-32B3-B3A8-4152A6D9FB5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19572" y="3265421"/>
              <a:ext cx="11773920" cy="548688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C6D13B00-3479-9FE4-28D9-576B1670573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87226" y="3780720"/>
              <a:ext cx="11606266" cy="27434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2231886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Zero Shot Classification - Example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5DBFDC2-D99C-A051-6A9F-C3A517253CBC}"/>
              </a:ext>
            </a:extLst>
          </p:cNvPr>
          <p:cNvSpPr txBox="1"/>
          <p:nvPr/>
        </p:nvSpPr>
        <p:spPr>
          <a:xfrm>
            <a:off x="550799" y="1250598"/>
            <a:ext cx="10125116" cy="162971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buClr>
                <a:schemeClr val="accent1"/>
              </a:buClr>
            </a:pPr>
            <a:r>
              <a:rPr lang="en-GB" sz="1400" b="1" dirty="0"/>
              <a:t>Review1: </a:t>
            </a:r>
          </a:p>
          <a:p>
            <a:pPr>
              <a:buClr>
                <a:schemeClr val="accent1"/>
              </a:buClr>
            </a:pPr>
            <a:r>
              <a:rPr lang="en-US" sz="1400" b="0" i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 have had no side effects other than a mild headache the day after. </a:t>
            </a:r>
          </a:p>
          <a:p>
            <a:pPr>
              <a:buClr>
                <a:schemeClr val="accent1"/>
              </a:buClr>
            </a:pPr>
            <a:r>
              <a:rPr lang="en-US" sz="1400" b="0" i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 am hopeful and will definitely continue with the yearly injection. </a:t>
            </a:r>
            <a:endParaRPr lang="en-GB" sz="1400" dirty="0"/>
          </a:p>
          <a:p>
            <a:pPr>
              <a:buClr>
                <a:schemeClr val="accent1"/>
              </a:buClr>
            </a:pPr>
            <a:endParaRPr lang="en-GB" sz="1400" b="1" dirty="0"/>
          </a:p>
          <a:p>
            <a:pPr>
              <a:buClr>
                <a:schemeClr val="accent1"/>
              </a:buClr>
            </a:pPr>
            <a:r>
              <a:rPr lang="en-GB" sz="1400" b="1" dirty="0"/>
              <a:t>Review2:</a:t>
            </a:r>
          </a:p>
          <a:p>
            <a:pPr>
              <a:buClr>
                <a:schemeClr val="accent1"/>
              </a:buClr>
            </a:pPr>
            <a:r>
              <a:rPr lang="en-US" sz="1400" b="0" i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Afte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r taking this medication </a:t>
            </a:r>
            <a:r>
              <a:rPr lang="en-US" sz="1400" b="0" i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he bones in my chest ached and I had lower back and hip pains, </a:t>
            </a:r>
          </a:p>
          <a:p>
            <a:pPr>
              <a:buClr>
                <a:schemeClr val="accent1"/>
              </a:buClr>
            </a:pPr>
            <a:r>
              <a:rPr lang="en-US" sz="1400" b="0" i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and I was very tired and weak. The next morning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en-US" sz="1400" b="0" i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 had intermittent nausea and dry heaves. </a:t>
            </a:r>
          </a:p>
          <a:p>
            <a:pPr>
              <a:buClr>
                <a:schemeClr val="accent1"/>
              </a:buClr>
            </a:pPr>
            <a:r>
              <a:rPr lang="en-US" sz="1400" b="0" i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rinking lots of water helped with the nausea. I regained most of my strength two days later.</a:t>
            </a:r>
            <a:endParaRPr lang="en-GB" sz="1400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8674834-3A2B-B423-FE42-2FA6927B57CF}"/>
              </a:ext>
            </a:extLst>
          </p:cNvPr>
          <p:cNvGrpSpPr/>
          <p:nvPr/>
        </p:nvGrpSpPr>
        <p:grpSpPr>
          <a:xfrm>
            <a:off x="319572" y="3305614"/>
            <a:ext cx="11773920" cy="789643"/>
            <a:chOff x="319572" y="3265421"/>
            <a:chExt cx="11773920" cy="789643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F86245A2-E9A6-32B3-B3A8-4152A6D9FB5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19572" y="3265421"/>
              <a:ext cx="11773920" cy="548688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C6D13B00-3479-9FE4-28D9-576B1670573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87226" y="3780720"/>
              <a:ext cx="11606266" cy="274344"/>
            </a:xfrm>
            <a:prstGeom prst="rect">
              <a:avLst/>
            </a:prstGeom>
          </p:spPr>
        </p:pic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246AB50A-1547-A62C-9E23-839A2957C12C}"/>
              </a:ext>
            </a:extLst>
          </p:cNvPr>
          <p:cNvSpPr/>
          <p:nvPr/>
        </p:nvSpPr>
        <p:spPr>
          <a:xfrm>
            <a:off x="506890" y="3885407"/>
            <a:ext cx="690113" cy="198408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9A5E511-7AF8-B15C-3807-75FDF1785F0E}"/>
              </a:ext>
            </a:extLst>
          </p:cNvPr>
          <p:cNvSpPr/>
          <p:nvPr/>
        </p:nvSpPr>
        <p:spPr>
          <a:xfrm>
            <a:off x="9946474" y="3885407"/>
            <a:ext cx="690113" cy="198408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67E3756-0FD6-4560-5601-EEBA04B7093B}"/>
              </a:ext>
            </a:extLst>
          </p:cNvPr>
          <p:cNvSpPr/>
          <p:nvPr/>
        </p:nvSpPr>
        <p:spPr>
          <a:xfrm>
            <a:off x="1845406" y="3885407"/>
            <a:ext cx="690113" cy="21731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71084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Zero Shot Classification - Example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5DBFDC2-D99C-A051-6A9F-C3A517253CBC}"/>
              </a:ext>
            </a:extLst>
          </p:cNvPr>
          <p:cNvSpPr txBox="1"/>
          <p:nvPr/>
        </p:nvSpPr>
        <p:spPr>
          <a:xfrm>
            <a:off x="550799" y="1250598"/>
            <a:ext cx="10125116" cy="162971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buClr>
                <a:schemeClr val="accent1"/>
              </a:buClr>
            </a:pPr>
            <a:r>
              <a:rPr lang="en-GB" sz="1400" b="1" dirty="0"/>
              <a:t>Review1: </a:t>
            </a:r>
          </a:p>
          <a:p>
            <a:pPr>
              <a:buClr>
                <a:schemeClr val="accent1"/>
              </a:buClr>
            </a:pPr>
            <a:r>
              <a:rPr lang="en-US" sz="1400" b="0" i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 have had no side effects other than a mild headache the day after. </a:t>
            </a:r>
          </a:p>
          <a:p>
            <a:pPr>
              <a:buClr>
                <a:schemeClr val="accent1"/>
              </a:buClr>
            </a:pPr>
            <a:r>
              <a:rPr lang="en-US" sz="1400" b="0" i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 am hopeful and will definitely continue with the yearly injection. </a:t>
            </a:r>
            <a:endParaRPr lang="en-GB" sz="1400" dirty="0"/>
          </a:p>
          <a:p>
            <a:pPr>
              <a:buClr>
                <a:schemeClr val="accent1"/>
              </a:buClr>
            </a:pPr>
            <a:endParaRPr lang="en-GB" sz="1400" b="1" dirty="0"/>
          </a:p>
          <a:p>
            <a:pPr>
              <a:buClr>
                <a:schemeClr val="accent1"/>
              </a:buClr>
            </a:pPr>
            <a:r>
              <a:rPr lang="en-GB" sz="1400" b="1" dirty="0"/>
              <a:t>Review2:</a:t>
            </a:r>
          </a:p>
          <a:p>
            <a:pPr>
              <a:buClr>
                <a:schemeClr val="accent1"/>
              </a:buClr>
            </a:pPr>
            <a:r>
              <a:rPr lang="en-US" sz="1400" b="0" i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Afte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r taking this medication </a:t>
            </a:r>
            <a:r>
              <a:rPr lang="en-US" sz="1400" b="0" i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he bones in my chest ached and I had lower back and hip pains, </a:t>
            </a:r>
          </a:p>
          <a:p>
            <a:pPr>
              <a:buClr>
                <a:schemeClr val="accent1"/>
              </a:buClr>
            </a:pPr>
            <a:r>
              <a:rPr lang="en-US" sz="1400" b="0" i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and I was very tired and weak. The next morning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en-US" sz="1400" b="0" i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 had intermittent nausea and dry heaves. </a:t>
            </a:r>
          </a:p>
          <a:p>
            <a:pPr>
              <a:buClr>
                <a:schemeClr val="accent1"/>
              </a:buClr>
            </a:pPr>
            <a:r>
              <a:rPr lang="en-US" sz="1400" b="0" i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rinking lots of water helped with the nausea. I regained most of my strength two days later.</a:t>
            </a:r>
            <a:endParaRPr lang="en-GB" sz="1400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8674834-3A2B-B423-FE42-2FA6927B57CF}"/>
              </a:ext>
            </a:extLst>
          </p:cNvPr>
          <p:cNvGrpSpPr/>
          <p:nvPr/>
        </p:nvGrpSpPr>
        <p:grpSpPr>
          <a:xfrm>
            <a:off x="319572" y="3305614"/>
            <a:ext cx="11773920" cy="789643"/>
            <a:chOff x="319572" y="3265421"/>
            <a:chExt cx="11773920" cy="789643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F86245A2-E9A6-32B3-B3A8-4152A6D9FB5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19572" y="3265421"/>
              <a:ext cx="11773920" cy="548688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C6D13B00-3479-9FE4-28D9-576B1670573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87226" y="3780720"/>
              <a:ext cx="11606266" cy="274344"/>
            </a:xfrm>
            <a:prstGeom prst="rect">
              <a:avLst/>
            </a:prstGeom>
          </p:spPr>
        </p:pic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47767E9B-6D1A-5A47-65C1-FA15007A317B}"/>
              </a:ext>
            </a:extLst>
          </p:cNvPr>
          <p:cNvSpPr/>
          <p:nvPr/>
        </p:nvSpPr>
        <p:spPr>
          <a:xfrm>
            <a:off x="506889" y="3622505"/>
            <a:ext cx="690113" cy="198408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C6E33BA-7912-4BE7-366E-C71D95494184}"/>
              </a:ext>
            </a:extLst>
          </p:cNvPr>
          <p:cNvSpPr/>
          <p:nvPr/>
        </p:nvSpPr>
        <p:spPr>
          <a:xfrm>
            <a:off x="5630933" y="3871397"/>
            <a:ext cx="690113" cy="198408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830724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Zero Shot Classification - Example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5DBFDC2-D99C-A051-6A9F-C3A517253CBC}"/>
              </a:ext>
            </a:extLst>
          </p:cNvPr>
          <p:cNvSpPr txBox="1"/>
          <p:nvPr/>
        </p:nvSpPr>
        <p:spPr>
          <a:xfrm>
            <a:off x="550799" y="1250598"/>
            <a:ext cx="10125116" cy="162971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buClr>
                <a:schemeClr val="accent1"/>
              </a:buClr>
            </a:pPr>
            <a:r>
              <a:rPr lang="en-GB" sz="1400" b="1" dirty="0"/>
              <a:t>Review1: </a:t>
            </a:r>
          </a:p>
          <a:p>
            <a:pPr>
              <a:buClr>
                <a:schemeClr val="accent1"/>
              </a:buClr>
            </a:pPr>
            <a:r>
              <a:rPr lang="en-US" sz="1400" b="0" i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 have had no side effects other than a mild headache the day after. </a:t>
            </a:r>
          </a:p>
          <a:p>
            <a:pPr>
              <a:buClr>
                <a:schemeClr val="accent1"/>
              </a:buClr>
            </a:pPr>
            <a:r>
              <a:rPr lang="en-US" sz="1400" b="0" i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 am hopeful and will definitely continue with the yearly injection. </a:t>
            </a:r>
            <a:endParaRPr lang="en-GB" sz="1400" dirty="0"/>
          </a:p>
          <a:p>
            <a:pPr>
              <a:buClr>
                <a:schemeClr val="accent1"/>
              </a:buClr>
            </a:pPr>
            <a:endParaRPr lang="en-GB" sz="1400" b="1" dirty="0"/>
          </a:p>
          <a:p>
            <a:pPr>
              <a:buClr>
                <a:schemeClr val="accent1"/>
              </a:buClr>
            </a:pPr>
            <a:r>
              <a:rPr lang="en-GB" sz="1400" b="1" dirty="0"/>
              <a:t>Review2:</a:t>
            </a:r>
          </a:p>
          <a:p>
            <a:pPr>
              <a:buClr>
                <a:schemeClr val="accent1"/>
              </a:buClr>
            </a:pPr>
            <a:r>
              <a:rPr lang="en-US" sz="1400" b="0" i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Afte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r taking this medication </a:t>
            </a:r>
            <a:r>
              <a:rPr lang="en-US" sz="1400" b="0" i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he bones in my chest ached and I had lower back and hip pains, </a:t>
            </a:r>
          </a:p>
          <a:p>
            <a:pPr>
              <a:buClr>
                <a:schemeClr val="accent1"/>
              </a:buClr>
            </a:pPr>
            <a:r>
              <a:rPr lang="en-US" sz="1400" b="0" i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and I was very tired and weak. The next morning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en-US" sz="1400" b="0" i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 had intermittent nausea and dry heaves. </a:t>
            </a:r>
          </a:p>
          <a:p>
            <a:pPr>
              <a:buClr>
                <a:schemeClr val="accent1"/>
              </a:buClr>
            </a:pPr>
            <a:r>
              <a:rPr lang="en-US" sz="1400" b="0" i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rinking lots of water helped with the nausea. I regained most of my strength two days later.</a:t>
            </a:r>
            <a:endParaRPr lang="en-GB" sz="1400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8674834-3A2B-B423-FE42-2FA6927B57CF}"/>
              </a:ext>
            </a:extLst>
          </p:cNvPr>
          <p:cNvGrpSpPr/>
          <p:nvPr/>
        </p:nvGrpSpPr>
        <p:grpSpPr>
          <a:xfrm>
            <a:off x="319572" y="3305614"/>
            <a:ext cx="11773920" cy="789643"/>
            <a:chOff x="319572" y="3265421"/>
            <a:chExt cx="11773920" cy="789643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F86245A2-E9A6-32B3-B3A8-4152A6D9FB5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19572" y="3265421"/>
              <a:ext cx="11773920" cy="548688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C6D13B00-3479-9FE4-28D9-576B1670573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87226" y="3780720"/>
              <a:ext cx="11606266" cy="274344"/>
            </a:xfrm>
            <a:prstGeom prst="rect">
              <a:avLst/>
            </a:prstGeom>
          </p:spPr>
        </p:pic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47767E9B-6D1A-5A47-65C1-FA15007A317B}"/>
              </a:ext>
            </a:extLst>
          </p:cNvPr>
          <p:cNvSpPr/>
          <p:nvPr/>
        </p:nvSpPr>
        <p:spPr>
          <a:xfrm>
            <a:off x="506889" y="3622505"/>
            <a:ext cx="690113" cy="198408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C6E33BA-7912-4BE7-366E-C71D95494184}"/>
              </a:ext>
            </a:extLst>
          </p:cNvPr>
          <p:cNvSpPr/>
          <p:nvPr/>
        </p:nvSpPr>
        <p:spPr>
          <a:xfrm>
            <a:off x="5630933" y="3871397"/>
            <a:ext cx="690113" cy="198408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pic>
        <p:nvPicPr>
          <p:cNvPr id="17" name="Picture 16" descr="Chart, histogram&#10;&#10;Description automatically generated">
            <a:extLst>
              <a:ext uri="{FF2B5EF4-FFF2-40B4-BE49-F238E27FC236}">
                <a16:creationId xmlns:a16="http://schemas.microsoft.com/office/drawing/2014/main" id="{E5F5A857-EC02-C7E7-B173-E4ADF718751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2603" y="4369601"/>
            <a:ext cx="3496418" cy="2388462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7E8C9BAF-A2DA-95E3-C6FD-0769FCB1A8DA}"/>
              </a:ext>
            </a:extLst>
          </p:cNvPr>
          <p:cNvSpPr txBox="1"/>
          <p:nvPr/>
        </p:nvSpPr>
        <p:spPr>
          <a:xfrm>
            <a:off x="5408334" y="5285865"/>
            <a:ext cx="3293695" cy="1200329"/>
          </a:xfrm>
          <a:prstGeom prst="rect">
            <a:avLst/>
          </a:prstGeom>
          <a:noFill/>
          <a:ln>
            <a:solidFill>
              <a:sysClr val="window" lastClr="FFFFFF">
                <a:lumMod val="65000"/>
              </a:sysClr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Zero-Shot Classification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resulted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in 66%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of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the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data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being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classified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into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the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labels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with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higher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than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0.7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probability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level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.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0096AB0-6C02-1A9C-8F2B-FC6C4837BEAC}"/>
              </a:ext>
            </a:extLst>
          </p:cNvPr>
          <p:cNvSpPr txBox="1"/>
          <p:nvPr/>
        </p:nvSpPr>
        <p:spPr>
          <a:xfrm rot="16200000">
            <a:off x="5575724" y="4656810"/>
            <a:ext cx="461665" cy="796442"/>
          </a:xfrm>
          <a:prstGeom prst="rect">
            <a:avLst/>
          </a:prstGeom>
          <a:solidFill>
            <a:srgbClr val="4472C4">
              <a:lumMod val="40000"/>
              <a:lumOff val="60000"/>
            </a:srgbClr>
          </a:solidFill>
        </p:spPr>
        <p:txBody>
          <a:bodyPr vert="eaVert"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Result</a:t>
            </a: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328246932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Most Common Side Effects</a:t>
            </a:r>
            <a:endParaRPr lang="en-US" b="0" dirty="0"/>
          </a:p>
        </p:txBody>
      </p:sp>
      <p:pic>
        <p:nvPicPr>
          <p:cNvPr id="4" name="Picture 3" descr="Chart, bar chart&#10;&#10;Description automatically generated">
            <a:extLst>
              <a:ext uri="{FF2B5EF4-FFF2-40B4-BE49-F238E27FC236}">
                <a16:creationId xmlns:a16="http://schemas.microsoft.com/office/drawing/2014/main" id="{D3B1A021-0059-EB9C-AE03-2AD4C9325E8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779" y="1130702"/>
            <a:ext cx="8076197" cy="5410498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871B755C-A1EC-C676-F458-A2817560C048}"/>
              </a:ext>
            </a:extLst>
          </p:cNvPr>
          <p:cNvSpPr txBox="1"/>
          <p:nvPr/>
        </p:nvSpPr>
        <p:spPr>
          <a:xfrm>
            <a:off x="8761137" y="2969142"/>
            <a:ext cx="3293695" cy="1200329"/>
          </a:xfrm>
          <a:prstGeom prst="rect">
            <a:avLst/>
          </a:prstGeom>
          <a:noFill/>
          <a:ln>
            <a:solidFill>
              <a:sysClr val="window" lastClr="FFFFFF">
                <a:lumMod val="65000"/>
              </a:sysClr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Limb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pain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, Fatigue, Gastrointestinal and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Headach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wer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h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most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common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sid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effects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.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2D7D866-E14E-84EA-EAA4-28FB793A8497}"/>
              </a:ext>
            </a:extLst>
          </p:cNvPr>
          <p:cNvSpPr txBox="1"/>
          <p:nvPr/>
        </p:nvSpPr>
        <p:spPr>
          <a:xfrm rot="16200000">
            <a:off x="9225234" y="2043379"/>
            <a:ext cx="461665" cy="1389857"/>
          </a:xfrm>
          <a:prstGeom prst="rect">
            <a:avLst/>
          </a:prstGeom>
          <a:solidFill>
            <a:srgbClr val="4472C4">
              <a:lumMod val="40000"/>
              <a:lumOff val="60000"/>
            </a:srgbClr>
          </a:solidFill>
        </p:spPr>
        <p:txBody>
          <a:bodyPr vert="eaVert"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Observation:</a:t>
            </a:r>
          </a:p>
        </p:txBody>
      </p:sp>
    </p:spTree>
    <p:extLst>
      <p:ext uri="{BB962C8B-B14F-4D97-AF65-F5344CB8AC3E}">
        <p14:creationId xmlns:p14="http://schemas.microsoft.com/office/powerpoint/2010/main" val="198638540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Who Suffers from the Side Effects?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pic>
        <p:nvPicPr>
          <p:cNvPr id="6" name="Picture 5" descr="Chart, bar chart&#10;&#10;Description automatically generated">
            <a:extLst>
              <a:ext uri="{FF2B5EF4-FFF2-40B4-BE49-F238E27FC236}">
                <a16:creationId xmlns:a16="http://schemas.microsoft.com/office/drawing/2014/main" id="{7C7305E2-AAFF-B001-E135-31BC58B72A3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2477" y="1414566"/>
            <a:ext cx="4398933" cy="400719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E7EDBAC-0EF6-2FC1-33CD-9A99A2024BB5}"/>
              </a:ext>
            </a:extLst>
          </p:cNvPr>
          <p:cNvSpPr txBox="1"/>
          <p:nvPr/>
        </p:nvSpPr>
        <p:spPr>
          <a:xfrm>
            <a:off x="1670094" y="6007628"/>
            <a:ext cx="4425906" cy="646331"/>
          </a:xfrm>
          <a:prstGeom prst="rect">
            <a:avLst/>
          </a:prstGeom>
          <a:noFill/>
          <a:ln>
            <a:solidFill>
              <a:sysClr val="window" lastClr="FFFFFF">
                <a:lumMod val="65000"/>
              </a:sysClr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Older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demographics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suffered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more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from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Dental and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Cardiac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related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side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effects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DD22B65-7B3A-E05C-870D-3161CC898FAF}"/>
              </a:ext>
            </a:extLst>
          </p:cNvPr>
          <p:cNvSpPr txBox="1"/>
          <p:nvPr/>
        </p:nvSpPr>
        <p:spPr>
          <a:xfrm rot="16200000">
            <a:off x="2102643" y="5113413"/>
            <a:ext cx="461665" cy="1326761"/>
          </a:xfrm>
          <a:prstGeom prst="rect">
            <a:avLst/>
          </a:prstGeom>
          <a:solidFill>
            <a:srgbClr val="4472C4">
              <a:lumMod val="40000"/>
              <a:lumOff val="60000"/>
            </a:srgbClr>
          </a:solidFill>
        </p:spPr>
        <p:txBody>
          <a:bodyPr vert="eaVert"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Observation: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1AE7E1EB-A7CF-AC7B-FE60-AC2804E558E8}"/>
              </a:ext>
            </a:extLst>
          </p:cNvPr>
          <p:cNvGrpSpPr/>
          <p:nvPr/>
        </p:nvGrpSpPr>
        <p:grpSpPr>
          <a:xfrm>
            <a:off x="739116" y="1414566"/>
            <a:ext cx="4437710" cy="4007199"/>
            <a:chOff x="739116" y="1414566"/>
            <a:chExt cx="4437710" cy="4007199"/>
          </a:xfrm>
        </p:grpSpPr>
        <p:pic>
          <p:nvPicPr>
            <p:cNvPr id="8" name="Picture 7" descr="Chart, bar chart&#10;&#10;Description automatically generated">
              <a:extLst>
                <a:ext uri="{FF2B5EF4-FFF2-40B4-BE49-F238E27FC236}">
                  <a16:creationId xmlns:a16="http://schemas.microsoft.com/office/drawing/2014/main" id="{0D24D854-8654-2E63-B75C-4F550646112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93078"/>
            <a:stretch/>
          </p:blipFill>
          <p:spPr>
            <a:xfrm>
              <a:off x="739116" y="1414567"/>
              <a:ext cx="362097" cy="4007198"/>
            </a:xfrm>
            <a:prstGeom prst="rect">
              <a:avLst/>
            </a:prstGeom>
          </p:spPr>
        </p:pic>
        <p:pic>
          <p:nvPicPr>
            <p:cNvPr id="14" name="Picture 13" descr="Chart, bar chart&#10;&#10;Description automatically generated">
              <a:extLst>
                <a:ext uri="{FF2B5EF4-FFF2-40B4-BE49-F238E27FC236}">
                  <a16:creationId xmlns:a16="http://schemas.microsoft.com/office/drawing/2014/main" id="{03D9141E-72F1-F4DA-0DB4-7994B811FCA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088"/>
            <a:stretch/>
          </p:blipFill>
          <p:spPr>
            <a:xfrm>
              <a:off x="1101213" y="1414566"/>
              <a:ext cx="4075613" cy="400719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0951581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06E5AF37-0ACD-5E62-0EE6-D151CEFD0E6A}"/>
              </a:ext>
            </a:extLst>
          </p:cNvPr>
          <p:cNvGrpSpPr/>
          <p:nvPr/>
        </p:nvGrpSpPr>
        <p:grpSpPr>
          <a:xfrm>
            <a:off x="6597447" y="1450800"/>
            <a:ext cx="4707955" cy="3925180"/>
            <a:chOff x="6282813" y="1524401"/>
            <a:chExt cx="4707955" cy="3925180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D2ADA373-66E1-2E74-287A-D8325F0F239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90527"/>
            <a:stretch/>
          </p:blipFill>
          <p:spPr>
            <a:xfrm>
              <a:off x="6282813" y="1524402"/>
              <a:ext cx="491613" cy="3925179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C041CA7A-3CB8-B649-982C-CDCD88C43D6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756"/>
            <a:stretch/>
          </p:blipFill>
          <p:spPr>
            <a:xfrm>
              <a:off x="6774426" y="1524401"/>
              <a:ext cx="4216342" cy="3925179"/>
            </a:xfrm>
            <a:prstGeom prst="rect">
              <a:avLst/>
            </a:prstGeom>
          </p:spPr>
        </p:pic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8BC53D4C-6B45-BF98-CEEA-3DF53A583F6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86598" y="1425401"/>
            <a:ext cx="4875103" cy="400719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Who Suffers from the Side Effects?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E7EDBAC-0EF6-2FC1-33CD-9A99A2024BB5}"/>
              </a:ext>
            </a:extLst>
          </p:cNvPr>
          <p:cNvSpPr txBox="1"/>
          <p:nvPr/>
        </p:nvSpPr>
        <p:spPr>
          <a:xfrm>
            <a:off x="1670093" y="6007628"/>
            <a:ext cx="5320641" cy="646331"/>
          </a:xfrm>
          <a:prstGeom prst="rect">
            <a:avLst/>
          </a:prstGeom>
          <a:noFill/>
          <a:ln>
            <a:solidFill>
              <a:sysClr val="window" lastClr="FFFFFF">
                <a:lumMod val="65000"/>
              </a:sysClr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Younger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demographics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suffered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more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from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Body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Temperature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change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and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Weight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change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side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effects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DD22B65-7B3A-E05C-870D-3161CC898FAF}"/>
              </a:ext>
            </a:extLst>
          </p:cNvPr>
          <p:cNvSpPr txBox="1"/>
          <p:nvPr/>
        </p:nvSpPr>
        <p:spPr>
          <a:xfrm rot="16200000">
            <a:off x="2102643" y="5113413"/>
            <a:ext cx="461665" cy="1326761"/>
          </a:xfrm>
          <a:prstGeom prst="rect">
            <a:avLst/>
          </a:prstGeom>
          <a:solidFill>
            <a:srgbClr val="4472C4">
              <a:lumMod val="40000"/>
              <a:lumOff val="60000"/>
            </a:srgbClr>
          </a:solidFill>
        </p:spPr>
        <p:txBody>
          <a:bodyPr vert="eaVert"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Observation:</a:t>
            </a:r>
          </a:p>
        </p:txBody>
      </p:sp>
    </p:spTree>
    <p:extLst>
      <p:ext uri="{BB962C8B-B14F-4D97-AF65-F5344CB8AC3E}">
        <p14:creationId xmlns:p14="http://schemas.microsoft.com/office/powerpoint/2010/main" val="249607736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Opportunities Against Market Leaders - </a:t>
            </a:r>
            <a:r>
              <a:rPr lang="en-US" dirty="0" err="1"/>
              <a:t>Reclast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3B5B15E-0C5F-3A01-5F13-69FB3436EBB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28160" y="890671"/>
            <a:ext cx="7680481" cy="554728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9633ABE-6323-B3D7-49E5-03D93B099F41}"/>
              </a:ext>
            </a:extLst>
          </p:cNvPr>
          <p:cNvSpPr txBox="1"/>
          <p:nvPr/>
        </p:nvSpPr>
        <p:spPr>
          <a:xfrm>
            <a:off x="8950598" y="2690336"/>
            <a:ext cx="2179517" cy="1754326"/>
          </a:xfrm>
          <a:prstGeom prst="rect">
            <a:avLst/>
          </a:prstGeom>
          <a:noFill/>
          <a:ln>
            <a:solidFill>
              <a:sysClr val="window" lastClr="FFFFFF">
                <a:lumMod val="65000"/>
              </a:sysClr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Reclast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has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a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lot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of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gastrointestinal and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limb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pain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related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side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effects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which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the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client‘s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medication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does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not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3A70313-2968-854E-CF39-50AAC976DE78}"/>
              </a:ext>
            </a:extLst>
          </p:cNvPr>
          <p:cNvSpPr txBox="1"/>
          <p:nvPr/>
        </p:nvSpPr>
        <p:spPr>
          <a:xfrm rot="16200000">
            <a:off x="9117988" y="2061281"/>
            <a:ext cx="461665" cy="796442"/>
          </a:xfrm>
          <a:prstGeom prst="rect">
            <a:avLst/>
          </a:prstGeom>
          <a:solidFill>
            <a:srgbClr val="4472C4">
              <a:lumMod val="40000"/>
              <a:lumOff val="60000"/>
            </a:srgbClr>
          </a:solidFill>
        </p:spPr>
        <p:txBody>
          <a:bodyPr vert="eaVert"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Insight:</a:t>
            </a:r>
          </a:p>
        </p:txBody>
      </p:sp>
    </p:spTree>
    <p:extLst>
      <p:ext uri="{BB962C8B-B14F-4D97-AF65-F5344CB8AC3E}">
        <p14:creationId xmlns:p14="http://schemas.microsoft.com/office/powerpoint/2010/main" val="314749975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Opportunities Against Market Leaders - Prolia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3B5B15E-0C5F-3A01-5F13-69FB3436EBB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28160" y="890671"/>
            <a:ext cx="7680481" cy="554728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9633ABE-6323-B3D7-49E5-03D93B099F41}"/>
              </a:ext>
            </a:extLst>
          </p:cNvPr>
          <p:cNvSpPr txBox="1"/>
          <p:nvPr/>
        </p:nvSpPr>
        <p:spPr>
          <a:xfrm>
            <a:off x="8950598" y="2690336"/>
            <a:ext cx="2179517" cy="1754326"/>
          </a:xfrm>
          <a:prstGeom prst="rect">
            <a:avLst/>
          </a:prstGeom>
          <a:noFill/>
          <a:ln>
            <a:solidFill>
              <a:sysClr val="window" lastClr="FFFFFF">
                <a:lumMod val="65000"/>
              </a:sysClr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Prolia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has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a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lot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of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dermatological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and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limb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pain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related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side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effects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which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the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client‘s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medication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does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not.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3A70313-2968-854E-CF39-50AAC976DE78}"/>
              </a:ext>
            </a:extLst>
          </p:cNvPr>
          <p:cNvSpPr txBox="1"/>
          <p:nvPr/>
        </p:nvSpPr>
        <p:spPr>
          <a:xfrm rot="16200000">
            <a:off x="9117988" y="2061281"/>
            <a:ext cx="461665" cy="796442"/>
          </a:xfrm>
          <a:prstGeom prst="rect">
            <a:avLst/>
          </a:prstGeom>
          <a:solidFill>
            <a:srgbClr val="4472C4">
              <a:lumMod val="40000"/>
              <a:lumOff val="60000"/>
            </a:srgbClr>
          </a:solidFill>
        </p:spPr>
        <p:txBody>
          <a:bodyPr vert="eaVert"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Insight:</a:t>
            </a:r>
          </a:p>
        </p:txBody>
      </p:sp>
    </p:spTree>
    <p:extLst>
      <p:ext uri="{BB962C8B-B14F-4D97-AF65-F5344CB8AC3E}">
        <p14:creationId xmlns:p14="http://schemas.microsoft.com/office/powerpoint/2010/main" val="341958362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A0D5E8-8A65-490A-9810-5C6E331C09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812399" cy="1134000"/>
          </a:xfrm>
        </p:spPr>
        <p:txBody>
          <a:bodyPr/>
          <a:lstStyle/>
          <a:p>
            <a:r>
              <a:rPr lang="en-US" dirty="0"/>
              <a:t>Summary Insights</a:t>
            </a:r>
            <a:endParaRPr lang="en-US" b="0" dirty="0"/>
          </a:p>
        </p:txBody>
      </p:sp>
      <p:sp>
        <p:nvSpPr>
          <p:cNvPr id="199" name="TextBox 198">
            <a:extLst>
              <a:ext uri="{FF2B5EF4-FFF2-40B4-BE49-F238E27FC236}">
                <a16:creationId xmlns:a16="http://schemas.microsoft.com/office/drawing/2014/main" id="{50D6F1B9-854A-458F-8035-79F1866318F1}"/>
              </a:ext>
            </a:extLst>
          </p:cNvPr>
          <p:cNvSpPr txBox="1"/>
          <p:nvPr/>
        </p:nvSpPr>
        <p:spPr>
          <a:xfrm>
            <a:off x="1095916" y="2059701"/>
            <a:ext cx="452368" cy="1107996"/>
          </a:xfrm>
          <a:prstGeom prst="rect">
            <a:avLst/>
          </a:prstGeom>
          <a:noFill/>
          <a:ln>
            <a:noFill/>
          </a:ln>
        </p:spPr>
        <p:txBody>
          <a:bodyPr wrap="none" rtlCol="0" anchor="ctr" anchorCtr="0">
            <a:spAutoFit/>
          </a:bodyPr>
          <a:lstStyle/>
          <a:p>
            <a:pPr algn="just"/>
            <a:r>
              <a:rPr lang="en-US" sz="6600" b="1" dirty="0">
                <a:solidFill>
                  <a:schemeClr val="accent1"/>
                </a:solidFill>
                <a:latin typeface="+mj-lt"/>
                <a:ea typeface="League Spartan" charset="0"/>
                <a:cs typeface="Poppins" pitchFamily="2" charset="77"/>
              </a:rPr>
              <a:t>I</a:t>
            </a:r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292841D7-23AB-4A59-9F37-4561DD7F57ED}"/>
              </a:ext>
            </a:extLst>
          </p:cNvPr>
          <p:cNvSpPr txBox="1"/>
          <p:nvPr/>
        </p:nvSpPr>
        <p:spPr>
          <a:xfrm>
            <a:off x="2135777" y="2429033"/>
            <a:ext cx="3100461" cy="369332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  <a:latin typeface="+mj-lt"/>
                <a:ea typeface="League Spartan" charset="0"/>
                <a:cs typeface="Poppins" pitchFamily="2" charset="77"/>
              </a:rPr>
              <a:t>Data Analytics</a:t>
            </a:r>
          </a:p>
        </p:txBody>
      </p:sp>
      <p:sp>
        <p:nvSpPr>
          <p:cNvPr id="201" name="Rectangle 15">
            <a:extLst>
              <a:ext uri="{FF2B5EF4-FFF2-40B4-BE49-F238E27FC236}">
                <a16:creationId xmlns:a16="http://schemas.microsoft.com/office/drawing/2014/main" id="{53119D67-75EC-43A5-9558-0AAFA21B8677}"/>
              </a:ext>
            </a:extLst>
          </p:cNvPr>
          <p:cNvSpPr/>
          <p:nvPr/>
        </p:nvSpPr>
        <p:spPr bwMode="auto">
          <a:xfrm>
            <a:off x="5248422" y="1725390"/>
            <a:ext cx="5486400" cy="177662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tIns="72000" rIns="72000" bIns="72000" rtlCol="0" anchor="ctr">
            <a:spAutoFit/>
          </a:bodyPr>
          <a:lstStyle/>
          <a:p>
            <a:pPr algn="just">
              <a:spcAft>
                <a:spcPts val="600"/>
              </a:spcAft>
              <a:defRPr/>
            </a:pPr>
            <a:r>
              <a:rPr lang="en-US" sz="1600" b="1" i="1" dirty="0">
                <a:solidFill>
                  <a:srgbClr val="333333"/>
                </a:solidFill>
                <a:sym typeface="Wingdings" panose="05000000000000000000" pitchFamily="2" charset="2"/>
              </a:rPr>
              <a:t>Which drugs are leading the market?</a:t>
            </a:r>
            <a:endParaRPr lang="en-US" sz="1600" b="1" dirty="0">
              <a:solidFill>
                <a:srgbClr val="333333"/>
              </a:solidFill>
            </a:endParaRPr>
          </a:p>
          <a:p>
            <a:pPr>
              <a:defRPr/>
            </a:pPr>
            <a:r>
              <a:rPr lang="en-US" sz="1600" dirty="0" err="1">
                <a:solidFill>
                  <a:srgbClr val="333333"/>
                </a:solidFill>
              </a:rPr>
              <a:t>Reclast</a:t>
            </a:r>
            <a:r>
              <a:rPr lang="en-US" sz="1600" dirty="0">
                <a:solidFill>
                  <a:srgbClr val="333333"/>
                </a:solidFill>
              </a:rPr>
              <a:t> bottle, Prolia, and Actonel Tablet are the top 3 medications in the market that treat osteoporosis.</a:t>
            </a:r>
          </a:p>
          <a:p>
            <a:pPr algn="just">
              <a:defRPr/>
            </a:pPr>
            <a:endParaRPr lang="en-US" sz="1600" dirty="0">
              <a:solidFill>
                <a:srgbClr val="333333"/>
              </a:solidFill>
            </a:endParaRPr>
          </a:p>
          <a:p>
            <a:pPr algn="just">
              <a:spcAft>
                <a:spcPts val="600"/>
              </a:spcAft>
              <a:defRPr/>
            </a:pPr>
            <a:r>
              <a:rPr lang="en-US" sz="1600" b="1" i="1" dirty="0">
                <a:solidFill>
                  <a:srgbClr val="333333"/>
                </a:solidFill>
                <a:sym typeface="Wingdings" panose="05000000000000000000" pitchFamily="2" charset="2"/>
              </a:rPr>
              <a:t>Who are the target demographics?</a:t>
            </a:r>
            <a:endParaRPr lang="en-US" sz="1600" b="1" dirty="0">
              <a:solidFill>
                <a:srgbClr val="333333"/>
              </a:solidFill>
            </a:endParaRPr>
          </a:p>
          <a:p>
            <a:pPr algn="just">
              <a:defRPr/>
            </a:pPr>
            <a:r>
              <a:rPr lang="en-US" sz="1600" dirty="0">
                <a:solidFill>
                  <a:srgbClr val="333333"/>
                </a:solidFill>
              </a:rPr>
              <a:t>Women between the ages of 45-74</a:t>
            </a:r>
          </a:p>
        </p:txBody>
      </p:sp>
      <p:cxnSp>
        <p:nvCxnSpPr>
          <p:cNvPr id="202" name="Gerade Verbindung 49">
            <a:extLst>
              <a:ext uri="{FF2B5EF4-FFF2-40B4-BE49-F238E27FC236}">
                <a16:creationId xmlns:a16="http://schemas.microsoft.com/office/drawing/2014/main" id="{2B53E5C9-98AB-4402-A39A-B60EBD3EBBAB}"/>
              </a:ext>
            </a:extLst>
          </p:cNvPr>
          <p:cNvCxnSpPr>
            <a:cxnSpLocks/>
          </p:cNvCxnSpPr>
          <p:nvPr/>
        </p:nvCxnSpPr>
        <p:spPr bwMode="gray">
          <a:xfrm flipV="1">
            <a:off x="4910356" y="1591410"/>
            <a:ext cx="0" cy="2116540"/>
          </a:xfrm>
          <a:prstGeom prst="line">
            <a:avLst/>
          </a:prstGeom>
          <a:ln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4" name="TextBox 203">
            <a:extLst>
              <a:ext uri="{FF2B5EF4-FFF2-40B4-BE49-F238E27FC236}">
                <a16:creationId xmlns:a16="http://schemas.microsoft.com/office/drawing/2014/main" id="{798C67FC-3B74-4F40-BE84-A63875D21961}"/>
              </a:ext>
            </a:extLst>
          </p:cNvPr>
          <p:cNvSpPr txBox="1"/>
          <p:nvPr/>
        </p:nvSpPr>
        <p:spPr>
          <a:xfrm>
            <a:off x="962069" y="4525817"/>
            <a:ext cx="720069" cy="1107996"/>
          </a:xfrm>
          <a:prstGeom prst="rect">
            <a:avLst/>
          </a:prstGeom>
          <a:noFill/>
          <a:ln>
            <a:noFill/>
          </a:ln>
        </p:spPr>
        <p:txBody>
          <a:bodyPr wrap="none" rtlCol="0" anchor="ctr" anchorCtr="0">
            <a:spAutoFit/>
          </a:bodyPr>
          <a:lstStyle/>
          <a:p>
            <a:pPr algn="just"/>
            <a:r>
              <a:rPr lang="en-US" sz="6600" b="1" dirty="0">
                <a:solidFill>
                  <a:schemeClr val="accent1"/>
                </a:solidFill>
                <a:latin typeface="+mj-lt"/>
                <a:ea typeface="League Spartan" charset="0"/>
                <a:cs typeface="Poppins" pitchFamily="2" charset="77"/>
              </a:rPr>
              <a:t>II</a:t>
            </a:r>
          </a:p>
        </p:txBody>
      </p:sp>
      <p:sp>
        <p:nvSpPr>
          <p:cNvPr id="205" name="TextBox 204">
            <a:extLst>
              <a:ext uri="{FF2B5EF4-FFF2-40B4-BE49-F238E27FC236}">
                <a16:creationId xmlns:a16="http://schemas.microsoft.com/office/drawing/2014/main" id="{B23BA648-DBE6-43E1-A7DD-05A2702C0810}"/>
              </a:ext>
            </a:extLst>
          </p:cNvPr>
          <p:cNvSpPr txBox="1"/>
          <p:nvPr/>
        </p:nvSpPr>
        <p:spPr>
          <a:xfrm>
            <a:off x="2080358" y="4884183"/>
            <a:ext cx="3301047" cy="369332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  <a:latin typeface="+mj-lt"/>
                <a:ea typeface="League Spartan" charset="0"/>
                <a:cs typeface="Poppins" pitchFamily="2" charset="77"/>
              </a:rPr>
              <a:t>Language Model</a:t>
            </a:r>
          </a:p>
        </p:txBody>
      </p:sp>
      <p:sp>
        <p:nvSpPr>
          <p:cNvPr id="206" name="Rectangle 15">
            <a:extLst>
              <a:ext uri="{FF2B5EF4-FFF2-40B4-BE49-F238E27FC236}">
                <a16:creationId xmlns:a16="http://schemas.microsoft.com/office/drawing/2014/main" id="{45C4456D-E606-45BD-811E-0F8855E134CA}"/>
              </a:ext>
            </a:extLst>
          </p:cNvPr>
          <p:cNvSpPr/>
          <p:nvPr/>
        </p:nvSpPr>
        <p:spPr bwMode="auto">
          <a:xfrm>
            <a:off x="5236237" y="4294836"/>
            <a:ext cx="6608619" cy="177662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tIns="72000" rIns="72000" bIns="72000" rtlCol="0" anchor="ctr">
            <a:spAutoFit/>
          </a:bodyPr>
          <a:lstStyle/>
          <a:p>
            <a:pPr algn="just">
              <a:spcAft>
                <a:spcPts val="600"/>
              </a:spcAft>
              <a:defRPr/>
            </a:pPr>
            <a:r>
              <a:rPr lang="en-US" sz="1600" b="1" i="1" dirty="0">
                <a:solidFill>
                  <a:srgbClr val="333333"/>
                </a:solidFill>
                <a:sym typeface="Wingdings" panose="05000000000000000000" pitchFamily="2" charset="2"/>
              </a:rPr>
              <a:t>How can the new medication disrupt the market?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rgbClr val="333333"/>
                </a:solidFill>
                <a:sym typeface="Wingdings" panose="05000000000000000000" pitchFamily="2" charset="2"/>
              </a:rPr>
              <a:t>Plan of Attack: </a:t>
            </a:r>
            <a:r>
              <a:rPr lang="en-US" sz="1600" dirty="0">
                <a:solidFill>
                  <a:srgbClr val="333333"/>
                </a:solidFill>
                <a:sym typeface="Wingdings" panose="05000000000000000000" pitchFamily="2" charset="2"/>
              </a:rPr>
              <a:t>Top medications have concerning dermatological, gastrointestinal, and limb pain related side effects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rgbClr val="333333"/>
                </a:solidFill>
                <a:sym typeface="Wingdings" panose="05000000000000000000" pitchFamily="2" charset="2"/>
              </a:rPr>
              <a:t>Defensive Strategy: </a:t>
            </a:r>
            <a:r>
              <a:rPr lang="en-US" sz="1600" dirty="0">
                <a:solidFill>
                  <a:srgbClr val="333333"/>
                </a:solidFill>
                <a:sym typeface="Wingdings" panose="05000000000000000000" pitchFamily="2" charset="2"/>
              </a:rPr>
              <a:t>Warning against older patients for potential cardiovascular related side effects. Advise to take before bed due to lethargic side effects reactions.</a:t>
            </a:r>
          </a:p>
        </p:txBody>
      </p:sp>
      <p:cxnSp>
        <p:nvCxnSpPr>
          <p:cNvPr id="207" name="Gerade Verbindung 49">
            <a:extLst>
              <a:ext uri="{FF2B5EF4-FFF2-40B4-BE49-F238E27FC236}">
                <a16:creationId xmlns:a16="http://schemas.microsoft.com/office/drawing/2014/main" id="{3062B607-2C0B-4ABF-91B1-02AE2F34C7EE}"/>
              </a:ext>
            </a:extLst>
          </p:cNvPr>
          <p:cNvCxnSpPr>
            <a:cxnSpLocks/>
          </p:cNvCxnSpPr>
          <p:nvPr/>
        </p:nvCxnSpPr>
        <p:spPr bwMode="gray">
          <a:xfrm flipV="1">
            <a:off x="4910356" y="4114798"/>
            <a:ext cx="0" cy="2156714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775757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A0D5E8-8A65-490A-9810-5C6E331C09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812399" cy="1134000"/>
          </a:xfrm>
        </p:spPr>
        <p:txBody>
          <a:bodyPr/>
          <a:lstStyle/>
          <a:p>
            <a:r>
              <a:rPr lang="en-US" dirty="0"/>
              <a:t>Approach and Methodology</a:t>
            </a:r>
            <a:endParaRPr lang="en-US" b="0" dirty="0"/>
          </a:p>
        </p:txBody>
      </p:sp>
      <p:sp>
        <p:nvSpPr>
          <p:cNvPr id="199" name="TextBox 198">
            <a:extLst>
              <a:ext uri="{FF2B5EF4-FFF2-40B4-BE49-F238E27FC236}">
                <a16:creationId xmlns:a16="http://schemas.microsoft.com/office/drawing/2014/main" id="{50D6F1B9-854A-458F-8035-79F1866318F1}"/>
              </a:ext>
            </a:extLst>
          </p:cNvPr>
          <p:cNvSpPr txBox="1"/>
          <p:nvPr/>
        </p:nvSpPr>
        <p:spPr>
          <a:xfrm>
            <a:off x="1095916" y="2059701"/>
            <a:ext cx="452368" cy="1107996"/>
          </a:xfrm>
          <a:prstGeom prst="rect">
            <a:avLst/>
          </a:prstGeom>
          <a:noFill/>
          <a:ln>
            <a:noFill/>
          </a:ln>
        </p:spPr>
        <p:txBody>
          <a:bodyPr wrap="none" rtlCol="0" anchor="ctr" anchorCtr="0">
            <a:spAutoFit/>
          </a:bodyPr>
          <a:lstStyle/>
          <a:p>
            <a:pPr algn="just"/>
            <a:r>
              <a:rPr lang="en-US" sz="6600" b="1" dirty="0">
                <a:solidFill>
                  <a:schemeClr val="accent1"/>
                </a:solidFill>
                <a:latin typeface="+mj-lt"/>
                <a:ea typeface="League Spartan" charset="0"/>
                <a:cs typeface="Poppins" pitchFamily="2" charset="77"/>
              </a:rPr>
              <a:t>I</a:t>
            </a:r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292841D7-23AB-4A59-9F37-4561DD7F57ED}"/>
              </a:ext>
            </a:extLst>
          </p:cNvPr>
          <p:cNvSpPr txBox="1"/>
          <p:nvPr/>
        </p:nvSpPr>
        <p:spPr>
          <a:xfrm>
            <a:off x="2135777" y="2429033"/>
            <a:ext cx="3100461" cy="369332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  <a:latin typeface="+mj-lt"/>
                <a:ea typeface="League Spartan" charset="0"/>
                <a:cs typeface="Poppins" pitchFamily="2" charset="77"/>
              </a:rPr>
              <a:t>Data Analytics</a:t>
            </a:r>
          </a:p>
        </p:txBody>
      </p:sp>
      <p:sp>
        <p:nvSpPr>
          <p:cNvPr id="201" name="Rectangle 15">
            <a:extLst>
              <a:ext uri="{FF2B5EF4-FFF2-40B4-BE49-F238E27FC236}">
                <a16:creationId xmlns:a16="http://schemas.microsoft.com/office/drawing/2014/main" id="{53119D67-75EC-43A5-9558-0AAFA21B8677}"/>
              </a:ext>
            </a:extLst>
          </p:cNvPr>
          <p:cNvSpPr/>
          <p:nvPr/>
        </p:nvSpPr>
        <p:spPr bwMode="auto">
          <a:xfrm>
            <a:off x="5248420" y="1810029"/>
            <a:ext cx="6746935" cy="160734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tIns="72000" rIns="72000" bIns="72000" rtlCol="0" anchor="ctr"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lang="en-US" sz="1600" b="1" i="1" dirty="0">
                <a:solidFill>
                  <a:srgbClr val="333333"/>
                </a:solidFill>
                <a:sym typeface="Wingdings" panose="05000000000000000000" pitchFamily="2" charset="2"/>
              </a:rPr>
              <a:t>Which drugs are leading the market?</a:t>
            </a:r>
            <a:endParaRPr lang="en-US" sz="1600" b="1" dirty="0">
              <a:solidFill>
                <a:srgbClr val="333333"/>
              </a:solidFill>
            </a:endParaRPr>
          </a:p>
          <a:p>
            <a:pPr>
              <a:defRPr/>
            </a:pPr>
            <a:r>
              <a:rPr lang="en-US" sz="1600" dirty="0">
                <a:solidFill>
                  <a:srgbClr val="333333"/>
                </a:solidFill>
              </a:rPr>
              <a:t>Data mining to identify the most popular drugs to treat osteoporosis.</a:t>
            </a:r>
          </a:p>
          <a:p>
            <a:pPr>
              <a:spcAft>
                <a:spcPts val="600"/>
              </a:spcAft>
              <a:defRPr/>
            </a:pPr>
            <a:endParaRPr lang="en-US" sz="1600" b="1" i="1" dirty="0">
              <a:solidFill>
                <a:srgbClr val="333333"/>
              </a:solidFill>
              <a:sym typeface="Wingdings" panose="05000000000000000000" pitchFamily="2" charset="2"/>
            </a:endParaRPr>
          </a:p>
          <a:p>
            <a:pPr>
              <a:spcAft>
                <a:spcPts val="600"/>
              </a:spcAft>
              <a:defRPr/>
            </a:pPr>
            <a:r>
              <a:rPr lang="en-US" sz="1600" b="1" i="1" dirty="0">
                <a:solidFill>
                  <a:srgbClr val="333333"/>
                </a:solidFill>
                <a:sym typeface="Wingdings" panose="05000000000000000000" pitchFamily="2" charset="2"/>
              </a:rPr>
              <a:t>Who are the target demographics?</a:t>
            </a:r>
            <a:endParaRPr lang="en-US" sz="1600" b="1" dirty="0">
              <a:solidFill>
                <a:srgbClr val="333333"/>
              </a:solidFill>
            </a:endParaRPr>
          </a:p>
          <a:p>
            <a:pPr>
              <a:defRPr/>
            </a:pPr>
            <a:r>
              <a:rPr lang="en-US" sz="1600" dirty="0">
                <a:solidFill>
                  <a:srgbClr val="333333"/>
                </a:solidFill>
              </a:rPr>
              <a:t>Analyze data to identify the demographics of the users.</a:t>
            </a:r>
          </a:p>
        </p:txBody>
      </p:sp>
      <p:cxnSp>
        <p:nvCxnSpPr>
          <p:cNvPr id="202" name="Gerade Verbindung 49">
            <a:extLst>
              <a:ext uri="{FF2B5EF4-FFF2-40B4-BE49-F238E27FC236}">
                <a16:creationId xmlns:a16="http://schemas.microsoft.com/office/drawing/2014/main" id="{2B53E5C9-98AB-4402-A39A-B60EBD3EBBAB}"/>
              </a:ext>
            </a:extLst>
          </p:cNvPr>
          <p:cNvCxnSpPr>
            <a:cxnSpLocks/>
          </p:cNvCxnSpPr>
          <p:nvPr/>
        </p:nvCxnSpPr>
        <p:spPr bwMode="gray">
          <a:xfrm flipV="1">
            <a:off x="4910356" y="1591410"/>
            <a:ext cx="0" cy="2116540"/>
          </a:xfrm>
          <a:prstGeom prst="line">
            <a:avLst/>
          </a:prstGeom>
          <a:ln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4" name="TextBox 203">
            <a:extLst>
              <a:ext uri="{FF2B5EF4-FFF2-40B4-BE49-F238E27FC236}">
                <a16:creationId xmlns:a16="http://schemas.microsoft.com/office/drawing/2014/main" id="{798C67FC-3B74-4F40-BE84-A63875D21961}"/>
              </a:ext>
            </a:extLst>
          </p:cNvPr>
          <p:cNvSpPr txBox="1"/>
          <p:nvPr/>
        </p:nvSpPr>
        <p:spPr>
          <a:xfrm>
            <a:off x="962069" y="4525817"/>
            <a:ext cx="720069" cy="1107996"/>
          </a:xfrm>
          <a:prstGeom prst="rect">
            <a:avLst/>
          </a:prstGeom>
          <a:noFill/>
          <a:ln>
            <a:noFill/>
          </a:ln>
        </p:spPr>
        <p:txBody>
          <a:bodyPr wrap="none" rtlCol="0" anchor="ctr" anchorCtr="0">
            <a:spAutoFit/>
          </a:bodyPr>
          <a:lstStyle/>
          <a:p>
            <a:pPr algn="just"/>
            <a:r>
              <a:rPr lang="en-US" sz="6600" b="1" dirty="0">
                <a:solidFill>
                  <a:schemeClr val="accent1"/>
                </a:solidFill>
                <a:latin typeface="+mj-lt"/>
                <a:ea typeface="League Spartan" charset="0"/>
                <a:cs typeface="Poppins" pitchFamily="2" charset="77"/>
              </a:rPr>
              <a:t>II</a:t>
            </a:r>
          </a:p>
        </p:txBody>
      </p:sp>
      <p:sp>
        <p:nvSpPr>
          <p:cNvPr id="205" name="TextBox 204">
            <a:extLst>
              <a:ext uri="{FF2B5EF4-FFF2-40B4-BE49-F238E27FC236}">
                <a16:creationId xmlns:a16="http://schemas.microsoft.com/office/drawing/2014/main" id="{B23BA648-DBE6-43E1-A7DD-05A2702C0810}"/>
              </a:ext>
            </a:extLst>
          </p:cNvPr>
          <p:cNvSpPr txBox="1"/>
          <p:nvPr/>
        </p:nvSpPr>
        <p:spPr>
          <a:xfrm>
            <a:off x="2080358" y="4884183"/>
            <a:ext cx="3301047" cy="369332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  <a:latin typeface="+mj-lt"/>
                <a:ea typeface="League Spartan" charset="0"/>
                <a:cs typeface="Poppins" pitchFamily="2" charset="77"/>
              </a:rPr>
              <a:t>Language Model</a:t>
            </a:r>
          </a:p>
        </p:txBody>
      </p:sp>
      <p:sp>
        <p:nvSpPr>
          <p:cNvPr id="206" name="Rectangle 15">
            <a:extLst>
              <a:ext uri="{FF2B5EF4-FFF2-40B4-BE49-F238E27FC236}">
                <a16:creationId xmlns:a16="http://schemas.microsoft.com/office/drawing/2014/main" id="{45C4456D-E606-45BD-811E-0F8855E134CA}"/>
              </a:ext>
            </a:extLst>
          </p:cNvPr>
          <p:cNvSpPr/>
          <p:nvPr/>
        </p:nvSpPr>
        <p:spPr bwMode="auto">
          <a:xfrm>
            <a:off x="5236237" y="4702639"/>
            <a:ext cx="6552639" cy="96101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tIns="72000" rIns="72000" bIns="72000" rtlCol="0" anchor="ctr">
            <a:spAutoFit/>
          </a:bodyPr>
          <a:lstStyle/>
          <a:p>
            <a:pPr algn="just">
              <a:spcAft>
                <a:spcPts val="600"/>
              </a:spcAft>
              <a:defRPr/>
            </a:pPr>
            <a:r>
              <a:rPr lang="en-US" sz="1600" b="1" i="1" dirty="0">
                <a:solidFill>
                  <a:srgbClr val="333333"/>
                </a:solidFill>
                <a:sym typeface="Wingdings" panose="05000000000000000000" pitchFamily="2" charset="2"/>
              </a:rPr>
              <a:t>How can the client disrupt the market?</a:t>
            </a:r>
          </a:p>
          <a:p>
            <a:pPr>
              <a:spcAft>
                <a:spcPts val="600"/>
              </a:spcAft>
              <a:defRPr/>
            </a:pPr>
            <a:r>
              <a:rPr kumimoji="0" lang="en-US" sz="1600" u="none" strike="noStrike" kern="1200" cap="none" spc="0" normalizeH="0" baseline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  <a:sym typeface="Wingdings" panose="05000000000000000000" pitchFamily="2" charset="2"/>
              </a:rPr>
              <a:t>Analyze the medication reviews to understand what marketing opportunities exists.</a:t>
            </a:r>
          </a:p>
        </p:txBody>
      </p:sp>
      <p:cxnSp>
        <p:nvCxnSpPr>
          <p:cNvPr id="207" name="Gerade Verbindung 49">
            <a:extLst>
              <a:ext uri="{FF2B5EF4-FFF2-40B4-BE49-F238E27FC236}">
                <a16:creationId xmlns:a16="http://schemas.microsoft.com/office/drawing/2014/main" id="{3062B607-2C0B-4ABF-91B1-02AE2F34C7EE}"/>
              </a:ext>
            </a:extLst>
          </p:cNvPr>
          <p:cNvCxnSpPr>
            <a:cxnSpLocks/>
          </p:cNvCxnSpPr>
          <p:nvPr/>
        </p:nvCxnSpPr>
        <p:spPr bwMode="gray">
          <a:xfrm flipV="1">
            <a:off x="4910356" y="4114798"/>
            <a:ext cx="0" cy="2156714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882375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A0D5E8-8A65-490A-9810-5C6E331C09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812399" cy="1134000"/>
          </a:xfrm>
        </p:spPr>
        <p:txBody>
          <a:bodyPr/>
          <a:lstStyle/>
          <a:p>
            <a:r>
              <a:rPr lang="en-US" dirty="0"/>
              <a:t>Way Forward</a:t>
            </a:r>
            <a:endParaRPr lang="en-US" b="0" dirty="0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9DCD02F-D0D3-7A6B-56DE-3D2E4DBF009C}"/>
              </a:ext>
            </a:extLst>
          </p:cNvPr>
          <p:cNvSpPr txBox="1">
            <a:spLocks/>
          </p:cNvSpPr>
          <p:nvPr/>
        </p:nvSpPr>
        <p:spPr>
          <a:xfrm>
            <a:off x="892161" y="1782569"/>
            <a:ext cx="10553007" cy="1188589"/>
          </a:xfrm>
          <a:prstGeom prst="rect">
            <a:avLst/>
          </a:prstGeom>
          <a:gradFill>
            <a:gsLst>
              <a:gs pos="50000">
                <a:schemeClr val="bg1"/>
              </a:gs>
              <a:gs pos="100000">
                <a:schemeClr val="tx2">
                  <a:lumMod val="20000"/>
                  <a:lumOff val="80000"/>
                </a:schemeClr>
              </a:gs>
            </a:gsLst>
            <a:lin ang="5400000" scaled="0"/>
          </a:gradFill>
          <a:ln w="12700">
            <a:solidFill>
              <a:schemeClr val="bg2"/>
            </a:solidFill>
          </a:ln>
        </p:spPr>
        <p:txBody>
          <a:bodyPr vert="horz" wrap="square" lIns="108000" tIns="72000" rIns="72000" bIns="72000" rtlCol="0" anchor="ctr" anchorCtr="0">
            <a:noAutofit/>
          </a:bodyPr>
          <a:lstStyle>
            <a:lvl1pPr marL="182563" indent="-182563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23838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30238" indent="-223838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4075" indent="-223838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12725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dirty="0">
                <a:cs typeface="Calibri"/>
              </a:rPr>
              <a:t>Fine Tuning </a:t>
            </a:r>
            <a:r>
              <a:rPr lang="de-DE" dirty="0" err="1">
                <a:cs typeface="Calibri"/>
              </a:rPr>
              <a:t>to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improve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classification</a:t>
            </a:r>
            <a:r>
              <a:rPr lang="de-DE" dirty="0">
                <a:cs typeface="Calibri"/>
              </a:rPr>
              <a:t>.</a:t>
            </a:r>
          </a:p>
          <a:p>
            <a:pPr marL="0" indent="0">
              <a:buNone/>
            </a:pPr>
            <a:r>
              <a:rPr lang="de-DE" dirty="0">
                <a:cs typeface="Calibri"/>
              </a:rPr>
              <a:t>(</a:t>
            </a:r>
            <a:r>
              <a:rPr lang="de-DE" dirty="0" err="1">
                <a:cs typeface="Calibri"/>
              </a:rPr>
              <a:t>currently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only</a:t>
            </a:r>
            <a:r>
              <a:rPr lang="de-DE" dirty="0">
                <a:cs typeface="Calibri"/>
              </a:rPr>
              <a:t> 66% </a:t>
            </a:r>
            <a:r>
              <a:rPr lang="de-DE" dirty="0" err="1">
                <a:cs typeface="Calibri"/>
              </a:rPr>
              <a:t>of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the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data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were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classified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with</a:t>
            </a:r>
            <a:r>
              <a:rPr lang="de-DE" dirty="0">
                <a:cs typeface="Calibri"/>
              </a:rPr>
              <a:t> 0.7 </a:t>
            </a:r>
            <a:r>
              <a:rPr lang="de-DE" dirty="0" err="1">
                <a:cs typeface="Calibri"/>
              </a:rPr>
              <a:t>probablitly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confidence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level</a:t>
            </a:r>
            <a:r>
              <a:rPr lang="de-DE" dirty="0">
                <a:cs typeface="Calibri"/>
              </a:rPr>
              <a:t>)</a:t>
            </a:r>
          </a:p>
        </p:txBody>
      </p:sp>
      <p:sp>
        <p:nvSpPr>
          <p:cNvPr id="13" name="Inhaltsplatzhalter 4">
            <a:extLst>
              <a:ext uri="{FF2B5EF4-FFF2-40B4-BE49-F238E27FC236}">
                <a16:creationId xmlns:a16="http://schemas.microsoft.com/office/drawing/2014/main" id="{4B8CF658-BF5D-9DCB-876F-36DA8AA93870}"/>
              </a:ext>
            </a:extLst>
          </p:cNvPr>
          <p:cNvSpPr txBox="1">
            <a:spLocks/>
          </p:cNvSpPr>
          <p:nvPr/>
        </p:nvSpPr>
        <p:spPr>
          <a:xfrm>
            <a:off x="892161" y="4497315"/>
            <a:ext cx="10553007" cy="1307448"/>
          </a:xfrm>
          <a:prstGeom prst="rect">
            <a:avLst/>
          </a:prstGeom>
          <a:gradFill>
            <a:gsLst>
              <a:gs pos="50000">
                <a:schemeClr val="bg1"/>
              </a:gs>
              <a:gs pos="100000">
                <a:schemeClr val="tx2">
                  <a:lumMod val="20000"/>
                  <a:lumOff val="80000"/>
                </a:schemeClr>
              </a:gs>
            </a:gsLst>
            <a:lin ang="5400000" scaled="0"/>
          </a:gradFill>
          <a:ln w="12700">
            <a:solidFill>
              <a:schemeClr val="bg2"/>
            </a:solidFill>
          </a:ln>
        </p:spPr>
        <p:txBody>
          <a:bodyPr vert="horz" wrap="square" lIns="108000" tIns="72000" rIns="72000" bIns="72000" rtlCol="0" anchor="ctr" anchorCtr="0">
            <a:noAutofit/>
          </a:bodyPr>
          <a:lstStyle>
            <a:lvl1pPr marL="182563" indent="-182563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23838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30238" indent="-223838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4075" indent="-223838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12725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dirty="0" err="1">
                <a:cs typeface="Calibri"/>
              </a:rPr>
              <a:t>Deeper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analysis</a:t>
            </a:r>
            <a:r>
              <a:rPr lang="de-DE" dirty="0">
                <a:cs typeface="Calibri"/>
              </a:rPr>
              <a:t> on </a:t>
            </a:r>
            <a:r>
              <a:rPr lang="de-DE" dirty="0" err="1">
                <a:cs typeface="Calibri"/>
              </a:rPr>
              <a:t>effectiveness</a:t>
            </a:r>
            <a:r>
              <a:rPr lang="de-DE" dirty="0">
                <a:cs typeface="Calibri"/>
              </a:rPr>
              <a:t>.</a:t>
            </a:r>
          </a:p>
          <a:p>
            <a:pPr marL="0" indent="0">
              <a:buNone/>
            </a:pPr>
            <a:r>
              <a:rPr lang="de-DE" dirty="0">
                <a:cs typeface="Calibri"/>
              </a:rPr>
              <a:t>Marketing </a:t>
            </a:r>
            <a:r>
              <a:rPr lang="de-DE" dirty="0" err="1">
                <a:cs typeface="Calibri"/>
              </a:rPr>
              <a:t>strategy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around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the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new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medication‘s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effectiveness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against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other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medications</a:t>
            </a:r>
            <a:r>
              <a:rPr lang="de-DE" dirty="0">
                <a:cs typeface="Calibri"/>
              </a:rPr>
              <a:t>.</a:t>
            </a:r>
          </a:p>
        </p:txBody>
      </p:sp>
      <p:pic>
        <p:nvPicPr>
          <p:cNvPr id="14" name="Grafik 31">
            <a:extLst>
              <a:ext uri="{FF2B5EF4-FFF2-40B4-BE49-F238E27FC236}">
                <a16:creationId xmlns:a16="http://schemas.microsoft.com/office/drawing/2014/main" id="{22AEAFB1-69EA-1588-CA0F-2E507E5B814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488" y="1996666"/>
            <a:ext cx="760396" cy="760396"/>
          </a:xfrm>
          <a:prstGeom prst="rect">
            <a:avLst/>
          </a:prstGeom>
        </p:spPr>
      </p:pic>
      <p:pic>
        <p:nvPicPr>
          <p:cNvPr id="16" name="Grafik 33">
            <a:extLst>
              <a:ext uri="{FF2B5EF4-FFF2-40B4-BE49-F238E27FC236}">
                <a16:creationId xmlns:a16="http://schemas.microsoft.com/office/drawing/2014/main" id="{2B7FCC02-80CE-F12E-5772-030A616D055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488" y="4758394"/>
            <a:ext cx="760396" cy="760396"/>
          </a:xfrm>
          <a:prstGeom prst="rect">
            <a:avLst/>
          </a:prstGeom>
        </p:spPr>
      </p:pic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AE28309E-B4D7-94F2-1438-C2CB1985259D}"/>
              </a:ext>
            </a:extLst>
          </p:cNvPr>
          <p:cNvSpPr txBox="1">
            <a:spLocks/>
          </p:cNvSpPr>
          <p:nvPr/>
        </p:nvSpPr>
        <p:spPr>
          <a:xfrm>
            <a:off x="892161" y="3161986"/>
            <a:ext cx="10553007" cy="1188589"/>
          </a:xfrm>
          <a:prstGeom prst="rect">
            <a:avLst/>
          </a:prstGeom>
          <a:gradFill>
            <a:gsLst>
              <a:gs pos="50000">
                <a:schemeClr val="bg1"/>
              </a:gs>
              <a:gs pos="100000">
                <a:schemeClr val="tx2">
                  <a:lumMod val="20000"/>
                  <a:lumOff val="80000"/>
                </a:schemeClr>
              </a:gs>
            </a:gsLst>
            <a:lin ang="5400000" scaled="0"/>
          </a:gradFill>
          <a:ln w="12700">
            <a:solidFill>
              <a:schemeClr val="bg2"/>
            </a:solidFill>
          </a:ln>
        </p:spPr>
        <p:txBody>
          <a:bodyPr vert="horz" wrap="square" lIns="108000" tIns="72000" rIns="72000" bIns="72000" rtlCol="0" anchor="ctr" anchorCtr="0">
            <a:noAutofit/>
          </a:bodyPr>
          <a:lstStyle>
            <a:lvl1pPr marL="182563" indent="-182563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23838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30238" indent="-223838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4075" indent="-223838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12725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>
                <a:cs typeface="Calibri"/>
              </a:rPr>
              <a:t>Language models to further identify side effects.</a:t>
            </a:r>
          </a:p>
          <a:p>
            <a:pPr marL="0" indent="0">
              <a:buNone/>
            </a:pPr>
            <a:r>
              <a:rPr lang="en-US" dirty="0">
                <a:cs typeface="Calibri"/>
              </a:rPr>
              <a:t>Some reviews mentioned that they were not informed of such side effects.</a:t>
            </a:r>
            <a:endParaRPr lang="de-DE" dirty="0">
              <a:cs typeface="Calibri"/>
            </a:endParaRPr>
          </a:p>
        </p:txBody>
      </p:sp>
      <p:pic>
        <p:nvPicPr>
          <p:cNvPr id="15" name="Grafik 32">
            <a:extLst>
              <a:ext uri="{FF2B5EF4-FFF2-40B4-BE49-F238E27FC236}">
                <a16:creationId xmlns:a16="http://schemas.microsoft.com/office/drawing/2014/main" id="{C0D0E0A0-BD2D-9A86-054A-45776AF25F1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488" y="3377530"/>
            <a:ext cx="760396" cy="760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617484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1D1E465C-8EEC-400C-8F95-6029A5E9D25D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" r="14"/>
          <a:stretch>
            <a:fillRect/>
          </a:stretch>
        </p:blipFill>
        <p:spPr/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8EB43E98-7343-456B-9AB3-9416203DD565}"/>
              </a:ext>
            </a:extLst>
          </p:cNvPr>
          <p:cNvSpPr txBox="1">
            <a:spLocks/>
          </p:cNvSpPr>
          <p:nvPr/>
        </p:nvSpPr>
        <p:spPr>
          <a:xfrm>
            <a:off x="359000" y="3759977"/>
            <a:ext cx="6624000" cy="1980000"/>
          </a:xfrm>
          <a:prstGeom prst="rect">
            <a:avLst/>
          </a:prstGeo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vert="horz" lIns="180000" tIns="144000" rIns="216000" bIns="180000" rtlCol="0" anchor="ctr" anchorCtr="0">
            <a:noAutofit/>
          </a:bodyPr>
          <a:lstStyle>
            <a:lvl1pPr algn="l" defTabSz="91441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b="1" dirty="0">
                <a:solidFill>
                  <a:srgbClr val="007A94"/>
                </a:solidFill>
                <a:latin typeface="Segoe UI (Headings)"/>
              </a:rPr>
              <a:t>Appendix</a:t>
            </a:r>
            <a:endParaRPr lang="en-US" b="1" dirty="0">
              <a:solidFill>
                <a:srgbClr val="007A94"/>
              </a:solidFill>
              <a:latin typeface="Segoe UI (Headings)"/>
            </a:endParaRPr>
          </a:p>
        </p:txBody>
      </p:sp>
    </p:spTree>
    <p:extLst>
      <p:ext uri="{BB962C8B-B14F-4D97-AF65-F5344CB8AC3E}">
        <p14:creationId xmlns:p14="http://schemas.microsoft.com/office/powerpoint/2010/main" val="203641989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requency and Review Scores of Age Demographics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5C0BC9C-1D11-5011-2768-CFBA075A45E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19095" y="1512846"/>
            <a:ext cx="5273189" cy="346120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774EDBC-6CF1-5823-D5E7-4149B0E19DBD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927"/>
          <a:stretch/>
        </p:blipFill>
        <p:spPr>
          <a:xfrm>
            <a:off x="6096000" y="1512846"/>
            <a:ext cx="5491281" cy="346120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021E62B-8F85-D5AF-8847-1838D48D4C52}"/>
              </a:ext>
            </a:extLst>
          </p:cNvPr>
          <p:cNvSpPr txBox="1"/>
          <p:nvPr/>
        </p:nvSpPr>
        <p:spPr>
          <a:xfrm>
            <a:off x="1012054" y="5229069"/>
            <a:ext cx="10575227" cy="5504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I</a:t>
            </a:r>
            <a:r>
              <a:rPr kumimoji="0" lang="en-US" altLang="zh-CN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nsights: 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Frequency appears normally distributed over age, centered in the 55-64 age group while review scores are about uniformly distributed over age.</a:t>
            </a: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943899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00" y="316800"/>
            <a:ext cx="9841708" cy="1134000"/>
          </a:xfrm>
        </p:spPr>
        <p:txBody>
          <a:bodyPr/>
          <a:lstStyle/>
          <a:p>
            <a:r>
              <a:rPr lang="en-US"/>
              <a:t>Frequency of Reviews for most Reviewed Medications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FB837BC-0DBB-262F-51C0-7685B4D6EE9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3169" y="1450800"/>
            <a:ext cx="5612608" cy="492362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5ABC4DC-F3D2-6575-7A24-25AD18D17331}"/>
              </a:ext>
            </a:extLst>
          </p:cNvPr>
          <p:cNvSpPr txBox="1"/>
          <p:nvPr/>
        </p:nvSpPr>
        <p:spPr>
          <a:xfrm>
            <a:off x="7404288" y="2893266"/>
            <a:ext cx="3630243" cy="203868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I</a:t>
            </a:r>
            <a:r>
              <a:rPr kumimoji="0" lang="en-US" altLang="zh-CN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nsights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Frequency appears normally distributed over age, centered in the 55-64 age group while review scores are about uniformly distributed over age.</a:t>
            </a: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378721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C90C729-32A1-2F79-38AA-0F5A695F57A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4792" y="1424437"/>
            <a:ext cx="8837882" cy="478591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35EEFB8-28D3-3349-1E44-0CEFD0517829}"/>
              </a:ext>
            </a:extLst>
          </p:cNvPr>
          <p:cNvSpPr txBox="1"/>
          <p:nvPr/>
        </p:nvSpPr>
        <p:spPr>
          <a:xfrm>
            <a:off x="9685208" y="2221532"/>
            <a:ext cx="2032000" cy="147732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/>
              <a:t>The age proportions remain constant across the most frequently reviewed drugs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B5769DB-1E9A-E3F3-BFB9-8D9AD4B2BB4D}"/>
              </a:ext>
            </a:extLst>
          </p:cNvPr>
          <p:cNvSpPr txBox="1"/>
          <p:nvPr/>
        </p:nvSpPr>
        <p:spPr>
          <a:xfrm>
            <a:off x="664597" y="447288"/>
            <a:ext cx="10325136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e-DE" sz="2400" b="1" err="1">
                <a:solidFill>
                  <a:srgbClr val="0088A6"/>
                </a:solidFill>
                <a:latin typeface="Segoe UI"/>
                <a:cs typeface="Segoe UI"/>
              </a:rPr>
              <a:t>Frequency</a:t>
            </a:r>
            <a:r>
              <a:rPr lang="de-DE" sz="2400" b="1">
                <a:solidFill>
                  <a:srgbClr val="0088A6"/>
                </a:solidFill>
                <a:latin typeface="Segoe UI"/>
                <a:cs typeface="Segoe UI"/>
              </a:rPr>
              <a:t> </a:t>
            </a:r>
            <a:r>
              <a:rPr lang="de-DE" sz="2400" b="1" err="1">
                <a:solidFill>
                  <a:srgbClr val="0088A6"/>
                </a:solidFill>
                <a:latin typeface="Segoe UI"/>
                <a:cs typeface="Segoe UI"/>
              </a:rPr>
              <a:t>of</a:t>
            </a:r>
            <a:r>
              <a:rPr lang="de-DE" sz="2400" b="1">
                <a:solidFill>
                  <a:srgbClr val="0088A6"/>
                </a:solidFill>
                <a:latin typeface="Segoe UI"/>
                <a:cs typeface="Segoe UI"/>
              </a:rPr>
              <a:t> Reviews </a:t>
            </a:r>
            <a:r>
              <a:rPr lang="de-DE" sz="2400" b="1" err="1">
                <a:solidFill>
                  <a:srgbClr val="0088A6"/>
                </a:solidFill>
                <a:latin typeface="Segoe UI"/>
                <a:cs typeface="Segoe UI"/>
              </a:rPr>
              <a:t>by</a:t>
            </a:r>
            <a:r>
              <a:rPr lang="de-DE" sz="2400" b="1">
                <a:solidFill>
                  <a:srgbClr val="0088A6"/>
                </a:solidFill>
                <a:latin typeface="Segoe UI"/>
                <a:cs typeface="Segoe UI"/>
              </a:rPr>
              <a:t> Age Group </a:t>
            </a:r>
            <a:r>
              <a:rPr lang="de-DE" sz="2400" b="1" err="1">
                <a:solidFill>
                  <a:srgbClr val="0088A6"/>
                </a:solidFill>
                <a:latin typeface="Segoe UI"/>
                <a:cs typeface="Segoe UI"/>
              </a:rPr>
              <a:t>For</a:t>
            </a:r>
            <a:r>
              <a:rPr lang="de-DE" sz="2400" b="1">
                <a:solidFill>
                  <a:srgbClr val="0088A6"/>
                </a:solidFill>
                <a:latin typeface="Segoe UI"/>
                <a:cs typeface="Segoe UI"/>
              </a:rPr>
              <a:t> Most </a:t>
            </a:r>
            <a:r>
              <a:rPr lang="de-DE" sz="2400" b="1" err="1">
                <a:solidFill>
                  <a:srgbClr val="0088A6"/>
                </a:solidFill>
                <a:latin typeface="Segoe UI"/>
                <a:cs typeface="Segoe UI"/>
              </a:rPr>
              <a:t>Reviewed</a:t>
            </a:r>
            <a:r>
              <a:rPr lang="de-DE" sz="2400" b="1">
                <a:solidFill>
                  <a:srgbClr val="0088A6"/>
                </a:solidFill>
                <a:latin typeface="Segoe UI"/>
                <a:cs typeface="Segoe UI"/>
              </a:rPr>
              <a:t> </a:t>
            </a:r>
            <a:r>
              <a:rPr lang="de-DE" sz="2400" b="1" err="1">
                <a:solidFill>
                  <a:srgbClr val="0088A6"/>
                </a:solidFill>
                <a:latin typeface="Segoe UI"/>
                <a:cs typeface="Segoe UI"/>
              </a:rPr>
              <a:t>Medications</a:t>
            </a:r>
            <a:endParaRPr lang="de-DE" sz="1600" b="1">
              <a:solidFill>
                <a:srgbClr val="0088A6"/>
              </a:solidFill>
              <a:latin typeface="Segoe UI"/>
              <a:cs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84342731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5A91A3A-A415-C6DC-C504-71BA4B0BEB8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45329" y="1337553"/>
            <a:ext cx="9841609" cy="418289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569C7B0-5451-98E4-A3B6-5617AA5F56FF}"/>
              </a:ext>
            </a:extLst>
          </p:cNvPr>
          <p:cNvSpPr txBox="1"/>
          <p:nvPr/>
        </p:nvSpPr>
        <p:spPr>
          <a:xfrm>
            <a:off x="1461051" y="5574037"/>
            <a:ext cx="8810167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e-DE" b="1" err="1">
                <a:ea typeface="+mn-lt"/>
                <a:cs typeface="+mn-lt"/>
              </a:rPr>
              <a:t>Insights</a:t>
            </a:r>
            <a:r>
              <a:rPr lang="de-DE" b="1">
                <a:ea typeface="+mn-lt"/>
                <a:cs typeface="+mn-lt"/>
              </a:rPr>
              <a:t>: </a:t>
            </a:r>
          </a:p>
          <a:p>
            <a:pPr marL="285750" indent="-285750">
              <a:buClr>
                <a:srgbClr val="007A94"/>
              </a:buClr>
              <a:buFont typeface="Wingdings" panose="05000000000000000000" pitchFamily="2" charset="2"/>
              <a:buChar char="§"/>
            </a:pPr>
            <a:r>
              <a:rPr lang="de-DE" err="1">
                <a:ea typeface="+mn-lt"/>
                <a:cs typeface="+mn-lt"/>
              </a:rPr>
              <a:t>There</a:t>
            </a:r>
            <a:r>
              <a:rPr lang="de-DE">
                <a:ea typeface="+mn-lt"/>
                <a:cs typeface="+mn-lt"/>
              </a:rPr>
              <a:t> </a:t>
            </a:r>
            <a:r>
              <a:rPr lang="de-DE" err="1">
                <a:ea typeface="+mn-lt"/>
                <a:cs typeface="+mn-lt"/>
              </a:rPr>
              <a:t>does</a:t>
            </a:r>
            <a:r>
              <a:rPr lang="de-DE">
                <a:ea typeface="+mn-lt"/>
                <a:cs typeface="+mn-lt"/>
              </a:rPr>
              <a:t> not </a:t>
            </a:r>
            <a:r>
              <a:rPr lang="de-DE" err="1">
                <a:ea typeface="+mn-lt"/>
                <a:cs typeface="+mn-lt"/>
              </a:rPr>
              <a:t>appear</a:t>
            </a:r>
            <a:r>
              <a:rPr lang="de-DE">
                <a:ea typeface="+mn-lt"/>
                <a:cs typeface="+mn-lt"/>
              </a:rPr>
              <a:t> </a:t>
            </a:r>
            <a:r>
              <a:rPr lang="de-DE" err="1">
                <a:ea typeface="+mn-lt"/>
                <a:cs typeface="+mn-lt"/>
              </a:rPr>
              <a:t>to</a:t>
            </a:r>
            <a:r>
              <a:rPr lang="de-DE">
                <a:ea typeface="+mn-lt"/>
                <a:cs typeface="+mn-lt"/>
              </a:rPr>
              <a:t> </a:t>
            </a:r>
            <a:r>
              <a:rPr lang="de-DE" err="1">
                <a:ea typeface="+mn-lt"/>
                <a:cs typeface="+mn-lt"/>
              </a:rPr>
              <a:t>be</a:t>
            </a:r>
            <a:r>
              <a:rPr lang="de-DE">
                <a:ea typeface="+mn-lt"/>
                <a:cs typeface="+mn-lt"/>
              </a:rPr>
              <a:t> a </a:t>
            </a:r>
            <a:r>
              <a:rPr lang="de-DE" err="1">
                <a:ea typeface="+mn-lt"/>
                <a:cs typeface="+mn-lt"/>
              </a:rPr>
              <a:t>major</a:t>
            </a:r>
            <a:r>
              <a:rPr lang="de-DE">
                <a:ea typeface="+mn-lt"/>
                <a:cs typeface="+mn-lt"/>
              </a:rPr>
              <a:t> </a:t>
            </a:r>
            <a:r>
              <a:rPr lang="de-DE" err="1">
                <a:ea typeface="+mn-lt"/>
                <a:cs typeface="+mn-lt"/>
              </a:rPr>
              <a:t>relationship</a:t>
            </a:r>
            <a:r>
              <a:rPr lang="de-DE">
                <a:ea typeface="+mn-lt"/>
                <a:cs typeface="+mn-lt"/>
              </a:rPr>
              <a:t> </a:t>
            </a:r>
            <a:r>
              <a:rPr lang="de-DE" err="1">
                <a:ea typeface="+mn-lt"/>
                <a:cs typeface="+mn-lt"/>
              </a:rPr>
              <a:t>between</a:t>
            </a:r>
            <a:r>
              <a:rPr lang="de-DE">
                <a:ea typeface="+mn-lt"/>
                <a:cs typeface="+mn-lt"/>
              </a:rPr>
              <a:t> </a:t>
            </a:r>
            <a:r>
              <a:rPr lang="de-DE" err="1">
                <a:ea typeface="+mn-lt"/>
                <a:cs typeface="+mn-lt"/>
              </a:rPr>
              <a:t>age</a:t>
            </a:r>
            <a:r>
              <a:rPr lang="de-DE">
                <a:ea typeface="+mn-lt"/>
                <a:cs typeface="+mn-lt"/>
              </a:rPr>
              <a:t> and </a:t>
            </a:r>
            <a:r>
              <a:rPr lang="de-DE" err="1">
                <a:ea typeface="+mn-lt"/>
                <a:cs typeface="+mn-lt"/>
              </a:rPr>
              <a:t>these</a:t>
            </a:r>
            <a:r>
              <a:rPr lang="de-DE">
                <a:ea typeface="+mn-lt"/>
                <a:cs typeface="+mn-lt"/>
              </a:rPr>
              <a:t> </a:t>
            </a:r>
            <a:r>
              <a:rPr lang="de-DE" err="1">
                <a:ea typeface="+mn-lt"/>
                <a:cs typeface="+mn-lt"/>
              </a:rPr>
              <a:t>three</a:t>
            </a:r>
            <a:r>
              <a:rPr lang="de-DE">
                <a:ea typeface="+mn-lt"/>
                <a:cs typeface="+mn-lt"/>
              </a:rPr>
              <a:t> </a:t>
            </a:r>
            <a:r>
              <a:rPr lang="de-DE" err="1">
                <a:ea typeface="+mn-lt"/>
                <a:cs typeface="+mn-lt"/>
              </a:rPr>
              <a:t>features</a:t>
            </a:r>
            <a:r>
              <a:rPr lang="de-DE">
                <a:ea typeface="+mn-lt"/>
                <a:cs typeface="+mn-lt"/>
              </a:rPr>
              <a:t>.</a:t>
            </a:r>
          </a:p>
          <a:p>
            <a:pPr marL="285750" indent="-285750">
              <a:buClr>
                <a:srgbClr val="007A94"/>
              </a:buClr>
              <a:buFont typeface="Wingdings" panose="05000000000000000000" pitchFamily="2" charset="2"/>
              <a:buChar char="§"/>
            </a:pPr>
            <a:r>
              <a:rPr lang="de-DE">
                <a:ea typeface="+mn-lt"/>
                <a:cs typeface="+mn-lt"/>
              </a:rPr>
              <a:t>Bullet 2 </a:t>
            </a:r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C7D2A57-F4F5-1C20-3338-C51C1E26F469}"/>
              </a:ext>
            </a:extLst>
          </p:cNvPr>
          <p:cNvSpPr txBox="1"/>
          <p:nvPr/>
        </p:nvSpPr>
        <p:spPr>
          <a:xfrm>
            <a:off x="664597" y="447288"/>
            <a:ext cx="10325136" cy="40011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000" b="1">
                <a:solidFill>
                  <a:srgbClr val="0088A6"/>
                </a:solidFill>
                <a:latin typeface="Segoe UI"/>
                <a:cs typeface="Segoe UI"/>
              </a:rPr>
              <a:t>Average Ratings for Satisfaction, Ease of Use, and Effectiveness Across Age. </a:t>
            </a:r>
          </a:p>
        </p:txBody>
      </p:sp>
    </p:spTree>
    <p:extLst>
      <p:ext uri="{BB962C8B-B14F-4D97-AF65-F5344CB8AC3E}">
        <p14:creationId xmlns:p14="http://schemas.microsoft.com/office/powerpoint/2010/main" val="190410505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Positive &amp; Negative Reviews about Effectiveness and Side Effects for Top5 Drugs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pic>
        <p:nvPicPr>
          <p:cNvPr id="14" name="Picture 13" descr="Chart, bar chart&#10;&#10;Description automatically generated">
            <a:extLst>
              <a:ext uri="{FF2B5EF4-FFF2-40B4-BE49-F238E27FC236}">
                <a16:creationId xmlns:a16="http://schemas.microsoft.com/office/drawing/2014/main" id="{90726713-B6FE-3C8A-EB84-1E5CD7A9B0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6783" y="1639759"/>
            <a:ext cx="4791466" cy="4395225"/>
          </a:xfrm>
          <a:prstGeom prst="rect">
            <a:avLst/>
          </a:prstGeom>
        </p:spPr>
      </p:pic>
      <p:pic>
        <p:nvPicPr>
          <p:cNvPr id="15" name="Picture 14" descr="Chart, bar chart&#10;&#10;Description automatically generated">
            <a:extLst>
              <a:ext uri="{FF2B5EF4-FFF2-40B4-BE49-F238E27FC236}">
                <a16:creationId xmlns:a16="http://schemas.microsoft.com/office/drawing/2014/main" id="{5D1844C1-71C9-FBE9-C849-F9FB1DA39C4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0194" y="1639759"/>
            <a:ext cx="4791466" cy="4395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048936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Most Treated Conditions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74FDCB21-3DDD-2308-93F3-AD378D526BA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30759" y="1165633"/>
            <a:ext cx="9488031" cy="452673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F31AC64-27D3-CEF4-3FF7-549AAC05E40C}"/>
              </a:ext>
            </a:extLst>
          </p:cNvPr>
          <p:cNvSpPr txBox="1"/>
          <p:nvPr/>
        </p:nvSpPr>
        <p:spPr>
          <a:xfrm>
            <a:off x="9914256" y="2378429"/>
            <a:ext cx="2124396" cy="3016210"/>
          </a:xfrm>
          <a:prstGeom prst="rect">
            <a:avLst/>
          </a:prstGeom>
          <a:noFill/>
          <a:ln>
            <a:solidFill>
              <a:sysClr val="window" lastClr="FFFFFF">
                <a:lumMod val="65000"/>
              </a:sys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ost-Menopausal Osteoporosis Prevention and Osteoporosis had the most number of unique treatment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ecall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he client treat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ost-Menopausal Osteoporosi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F38A4E-87D9-80F0-DFDD-CBA065E685CC}"/>
              </a:ext>
            </a:extLst>
          </p:cNvPr>
          <p:cNvSpPr txBox="1"/>
          <p:nvPr/>
        </p:nvSpPr>
        <p:spPr>
          <a:xfrm rot="16200000">
            <a:off x="10349385" y="1481630"/>
            <a:ext cx="461665" cy="1331920"/>
          </a:xfrm>
          <a:prstGeom prst="rect">
            <a:avLst/>
          </a:prstGeom>
          <a:solidFill>
            <a:srgbClr val="4472C4">
              <a:lumMod val="40000"/>
              <a:lumOff val="60000"/>
            </a:srgbClr>
          </a:solidFill>
        </p:spPr>
        <p:txBody>
          <a:bodyPr vert="eaVert"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ervation:</a:t>
            </a:r>
          </a:p>
        </p:txBody>
      </p:sp>
    </p:spTree>
    <p:extLst>
      <p:ext uri="{BB962C8B-B14F-4D97-AF65-F5344CB8AC3E}">
        <p14:creationId xmlns:p14="http://schemas.microsoft.com/office/powerpoint/2010/main" val="235854059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F830FE2-5EB2-68B0-0056-2B66F86C439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41502" y="1011934"/>
            <a:ext cx="4088617" cy="292194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BED1845-E806-771A-FD07-AABD7E5689B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41502" y="3982623"/>
            <a:ext cx="4088617" cy="292194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6602073-6EC2-AA6A-54D7-1A5D1B5ED89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42033" y="980078"/>
            <a:ext cx="4088617" cy="2921943"/>
          </a:xfrm>
          <a:prstGeom prst="rect">
            <a:avLst/>
          </a:prstGeom>
        </p:spPr>
      </p:pic>
      <p:pic>
        <p:nvPicPr>
          <p:cNvPr id="13" name="Picture 5" descr="Chart, treemap chart&#10;&#10;Description automatically generated">
            <a:extLst>
              <a:ext uri="{FF2B5EF4-FFF2-40B4-BE49-F238E27FC236}">
                <a16:creationId xmlns:a16="http://schemas.microsoft.com/office/drawing/2014/main" id="{56C43A54-F0EA-BABD-44AA-C51D2DBCD35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77418" y="3933877"/>
            <a:ext cx="3722354" cy="2815763"/>
          </a:xfrm>
          <a:prstGeom prst="rect">
            <a:avLst/>
          </a:prstGeom>
        </p:spPr>
      </p:pic>
      <p:sp>
        <p:nvSpPr>
          <p:cNvPr id="14" name="Richtungspfeil 1">
            <a:extLst>
              <a:ext uri="{FF2B5EF4-FFF2-40B4-BE49-F238E27FC236}">
                <a16:creationId xmlns:a16="http://schemas.microsoft.com/office/drawing/2014/main" id="{7D8681C1-2678-5873-7828-0A7D5F4D8BD0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0" y="2323708"/>
            <a:ext cx="3740574" cy="1157634"/>
          </a:xfrm>
          <a:prstGeom prst="homePlate">
            <a:avLst>
              <a:gd name="adj" fmla="val 19554"/>
            </a:avLst>
          </a:prstGeom>
          <a:gradFill flip="none" rotWithShape="1">
            <a:gsLst>
              <a:gs pos="0">
                <a:srgbClr val="479BB7">
                  <a:lumMod val="100000"/>
                </a:srgbClr>
              </a:gs>
              <a:gs pos="100000">
                <a:srgbClr val="0085A6">
                  <a:lumMod val="100000"/>
                </a:srgbClr>
              </a:gs>
            </a:gsLst>
            <a:lin ang="5400000" scaled="1"/>
            <a:tileRect/>
          </a:gradFill>
          <a:ln w="6350" cmpd="sng">
            <a:solidFill>
              <a:schemeClr val="accent1">
                <a:lumMod val="100000"/>
              </a:schemeClr>
            </a:solidFill>
            <a:prstDash val="solid"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</a:pP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1.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Satisfaction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is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highly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correlated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with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effectiveness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.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Moderately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with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ease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of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use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. </a:t>
            </a:r>
          </a:p>
        </p:txBody>
      </p:sp>
      <p:sp>
        <p:nvSpPr>
          <p:cNvPr id="15" name="Richtungspfeil 1">
            <a:extLst>
              <a:ext uri="{FF2B5EF4-FFF2-40B4-BE49-F238E27FC236}">
                <a16:creationId xmlns:a16="http://schemas.microsoft.com/office/drawing/2014/main" id="{CE0E5833-007F-B749-CF6C-DA96F72220B7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4021936"/>
            <a:ext cx="3740574" cy="1157634"/>
          </a:xfrm>
          <a:prstGeom prst="homePlate">
            <a:avLst>
              <a:gd name="adj" fmla="val 19554"/>
            </a:avLst>
          </a:prstGeom>
          <a:gradFill flip="none" rotWithShape="1">
            <a:gsLst>
              <a:gs pos="0">
                <a:srgbClr val="479BB7">
                  <a:lumMod val="100000"/>
                </a:srgbClr>
              </a:gs>
              <a:gs pos="100000">
                <a:srgbClr val="0085A6">
                  <a:lumMod val="100000"/>
                </a:srgbClr>
              </a:gs>
            </a:gsLst>
            <a:lin ang="5400000" scaled="1"/>
            <a:tileRect/>
          </a:gradFill>
          <a:ln w="6350" cmpd="sng">
            <a:solidFill>
              <a:schemeClr val="accent1">
                <a:lumMod val="100000"/>
              </a:schemeClr>
            </a:solidFill>
            <a:prstDash val="solid"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</a:pP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2. Reviews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tend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to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have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higher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ease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of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use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ratings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and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lower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satisfaction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ratings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BD9F7F0-8591-5EC4-8F05-F10829A1BFDB}"/>
              </a:ext>
            </a:extLst>
          </p:cNvPr>
          <p:cNvSpPr txBox="1"/>
          <p:nvPr/>
        </p:nvSpPr>
        <p:spPr>
          <a:xfrm>
            <a:off x="664597" y="447288"/>
            <a:ext cx="10325136" cy="40011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000" b="1">
                <a:solidFill>
                  <a:srgbClr val="0088A6"/>
                </a:solidFill>
                <a:latin typeface="Segoe UI"/>
                <a:cs typeface="Segoe UI"/>
              </a:rPr>
              <a:t>What is generally driving satisfaction? </a:t>
            </a:r>
            <a:r>
              <a:rPr lang="en-US" sz="2000">
                <a:solidFill>
                  <a:srgbClr val="0088A6"/>
                </a:solidFill>
                <a:latin typeface="Segoe UI"/>
                <a:cs typeface="Segoe UI"/>
              </a:rPr>
              <a:t>Ease of use or effectiveness?</a:t>
            </a:r>
            <a:endParaRPr lang="en-US" sz="2000" b="1">
              <a:solidFill>
                <a:srgbClr val="0088A6"/>
              </a:solidFill>
              <a:latin typeface="Segoe UI"/>
              <a:cs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31094236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Chart&#10;&#10;Description automatically generated">
            <a:extLst>
              <a:ext uri="{FF2B5EF4-FFF2-40B4-BE49-F238E27FC236}">
                <a16:creationId xmlns:a16="http://schemas.microsoft.com/office/drawing/2014/main" id="{49382818-7428-53AF-FA09-9DC155B28D3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7841596" y="3612205"/>
            <a:ext cx="3868047" cy="2729231"/>
          </a:xfrm>
        </p:spPr>
      </p:pic>
      <p:pic>
        <p:nvPicPr>
          <p:cNvPr id="5" name="Picture 5" descr="Chart&#10;&#10;Description automatically generated">
            <a:extLst>
              <a:ext uri="{FF2B5EF4-FFF2-40B4-BE49-F238E27FC236}">
                <a16:creationId xmlns:a16="http://schemas.microsoft.com/office/drawing/2014/main" id="{B8F4A670-00DF-CA7B-125C-8B7776CA475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931407" y="892745"/>
            <a:ext cx="3858184" cy="2695713"/>
          </a:xfrm>
          <a:prstGeom prst="rect">
            <a:avLst/>
          </a:prstGeom>
        </p:spPr>
      </p:pic>
      <p:pic>
        <p:nvPicPr>
          <p:cNvPr id="6" name="Picture 6" descr="Chart&#10;&#10;Description automatically generated">
            <a:extLst>
              <a:ext uri="{FF2B5EF4-FFF2-40B4-BE49-F238E27FC236}">
                <a16:creationId xmlns:a16="http://schemas.microsoft.com/office/drawing/2014/main" id="{5D1486B8-38F3-2945-9346-BB5393E8F9F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31214" y="3590150"/>
            <a:ext cx="3810382" cy="2721913"/>
          </a:xfrm>
          <a:prstGeom prst="rect">
            <a:avLst/>
          </a:prstGeom>
        </p:spPr>
      </p:pic>
      <p:pic>
        <p:nvPicPr>
          <p:cNvPr id="7" name="Picture 7" descr="Chart&#10;&#10;Description automatically generated">
            <a:extLst>
              <a:ext uri="{FF2B5EF4-FFF2-40B4-BE49-F238E27FC236}">
                <a16:creationId xmlns:a16="http://schemas.microsoft.com/office/drawing/2014/main" id="{69EE11E9-D7A8-3EEB-4832-F25451BA9C0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068078" y="892745"/>
            <a:ext cx="3826465" cy="2721912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6091DA20-0B2D-99AE-0A01-27B89C9A2F71}"/>
              </a:ext>
            </a:extLst>
          </p:cNvPr>
          <p:cNvSpPr txBox="1">
            <a:spLocks/>
          </p:cNvSpPr>
          <p:nvPr/>
        </p:nvSpPr>
        <p:spPr>
          <a:xfrm>
            <a:off x="-1" y="12716"/>
            <a:ext cx="12192001" cy="88949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800" b="1">
                <a:solidFill>
                  <a:srgbClr val="0088A6"/>
                </a:solidFill>
                <a:latin typeface="Segoe UI"/>
                <a:cs typeface="Segoe UI"/>
              </a:rPr>
              <a:t>Good Reviews and Bad Reviews: </a:t>
            </a:r>
            <a:r>
              <a:rPr lang="en-US" sz="2800">
                <a:solidFill>
                  <a:srgbClr val="0088A6"/>
                </a:solidFill>
                <a:latin typeface="Segoe UI"/>
                <a:cs typeface="Segoe UI"/>
              </a:rPr>
              <a:t>What can we understand from the sub-categories?</a:t>
            </a:r>
            <a:endParaRPr lang="en-US" sz="2800">
              <a:solidFill>
                <a:srgbClr val="0088A6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Richtungspfeil 1">
            <a:extLst>
              <a:ext uri="{FF2B5EF4-FFF2-40B4-BE49-F238E27FC236}">
                <a16:creationId xmlns:a16="http://schemas.microsoft.com/office/drawing/2014/main" id="{9BC5C745-20B7-8192-2D94-F486B93ECE18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0" y="1140366"/>
            <a:ext cx="3740574" cy="1157634"/>
          </a:xfrm>
          <a:prstGeom prst="homePlate">
            <a:avLst>
              <a:gd name="adj" fmla="val 19554"/>
            </a:avLst>
          </a:prstGeom>
          <a:gradFill flip="none" rotWithShape="1">
            <a:gsLst>
              <a:gs pos="0">
                <a:srgbClr val="479BB7">
                  <a:lumMod val="100000"/>
                </a:srgbClr>
              </a:gs>
              <a:gs pos="100000">
                <a:srgbClr val="0085A6">
                  <a:lumMod val="100000"/>
                </a:srgbClr>
              </a:gs>
            </a:gsLst>
            <a:lin ang="5400000" scaled="1"/>
            <a:tileRect/>
          </a:gradFill>
          <a:ln w="6350" cmpd="sng">
            <a:solidFill>
              <a:schemeClr val="accent1">
                <a:lumMod val="100000"/>
              </a:schemeClr>
            </a:solidFill>
            <a:prstDash val="solid"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</a:pP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1. Low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effectiveness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= Low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satisfaction</a:t>
            </a:r>
            <a:endParaRPr lang="de-DE">
              <a:solidFill>
                <a:srgbClr val="FFFFFF">
                  <a:lumMod val="100000"/>
                </a:srgbClr>
              </a:solidFill>
              <a:latin typeface="Segoe UI" panose="020B0502040204020203" pitchFamily="34" charset="0"/>
            </a:endParaRPr>
          </a:p>
        </p:txBody>
      </p:sp>
      <p:sp>
        <p:nvSpPr>
          <p:cNvPr id="20" name="Richtungspfeil 1">
            <a:extLst>
              <a:ext uri="{FF2B5EF4-FFF2-40B4-BE49-F238E27FC236}">
                <a16:creationId xmlns:a16="http://schemas.microsoft.com/office/drawing/2014/main" id="{FAB1F605-6604-9E58-2050-2DF226AF53FF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2432516"/>
            <a:ext cx="3740574" cy="1157634"/>
          </a:xfrm>
          <a:prstGeom prst="homePlate">
            <a:avLst>
              <a:gd name="adj" fmla="val 19554"/>
            </a:avLst>
          </a:prstGeom>
          <a:gradFill flip="none" rotWithShape="1">
            <a:gsLst>
              <a:gs pos="0">
                <a:srgbClr val="479BB7">
                  <a:lumMod val="100000"/>
                </a:srgbClr>
              </a:gs>
              <a:gs pos="100000">
                <a:srgbClr val="0085A6">
                  <a:lumMod val="100000"/>
                </a:srgbClr>
              </a:gs>
            </a:gsLst>
            <a:lin ang="5400000" scaled="1"/>
            <a:tileRect/>
          </a:gradFill>
          <a:ln w="6350" cmpd="sng">
            <a:solidFill>
              <a:schemeClr val="accent1">
                <a:lumMod val="100000"/>
              </a:schemeClr>
            </a:solidFill>
            <a:prstDash val="solid"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</a:pP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2. Low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ease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of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use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= Low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satisfaction</a:t>
            </a:r>
            <a:endParaRPr lang="de-DE">
              <a:solidFill>
                <a:srgbClr val="FFFFFF">
                  <a:lumMod val="100000"/>
                </a:srgbClr>
              </a:solidFill>
              <a:latin typeface="Segoe UI" panose="020B0502040204020203" pitchFamily="34" charset="0"/>
            </a:endParaRPr>
          </a:p>
        </p:txBody>
      </p:sp>
      <p:sp>
        <p:nvSpPr>
          <p:cNvPr id="21" name="Richtungspfeil 1">
            <a:extLst>
              <a:ext uri="{FF2B5EF4-FFF2-40B4-BE49-F238E27FC236}">
                <a16:creationId xmlns:a16="http://schemas.microsoft.com/office/drawing/2014/main" id="{18301B77-9C6C-AB03-E1F5-AD2DBE4956E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3802300"/>
            <a:ext cx="3740574" cy="1157634"/>
          </a:xfrm>
          <a:prstGeom prst="homePlate">
            <a:avLst>
              <a:gd name="adj" fmla="val 19554"/>
            </a:avLst>
          </a:prstGeom>
          <a:gradFill flip="none" rotWithShape="1">
            <a:gsLst>
              <a:gs pos="0">
                <a:srgbClr val="479BB7">
                  <a:lumMod val="100000"/>
                </a:srgbClr>
              </a:gs>
              <a:gs pos="100000">
                <a:srgbClr val="0085A6">
                  <a:lumMod val="100000"/>
                </a:srgbClr>
              </a:gs>
            </a:gsLst>
            <a:lin ang="5400000" scaled="1"/>
            <a:tileRect/>
          </a:gradFill>
          <a:ln w="6350" cmpd="sng">
            <a:solidFill>
              <a:schemeClr val="accent1">
                <a:lumMod val="100000"/>
              </a:schemeClr>
            </a:solidFill>
            <a:prstDash val="solid"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</a:pP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3. High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effectiveness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= High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satisfaction</a:t>
            </a:r>
            <a:endParaRPr lang="de-DE">
              <a:solidFill>
                <a:srgbClr val="FFFFFF">
                  <a:lumMod val="100000"/>
                </a:srgbClr>
              </a:solidFill>
              <a:latin typeface="Segoe UI" panose="020B0502040204020203" pitchFamily="34" charset="0"/>
            </a:endParaRPr>
          </a:p>
        </p:txBody>
      </p:sp>
      <p:sp>
        <p:nvSpPr>
          <p:cNvPr id="22" name="Richtungspfeil 1">
            <a:extLst>
              <a:ext uri="{FF2B5EF4-FFF2-40B4-BE49-F238E27FC236}">
                <a16:creationId xmlns:a16="http://schemas.microsoft.com/office/drawing/2014/main" id="{9C903CA5-6D61-4C2D-E6B2-AB0318F16448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1" y="5122725"/>
            <a:ext cx="3740574" cy="1157634"/>
          </a:xfrm>
          <a:prstGeom prst="homePlate">
            <a:avLst>
              <a:gd name="adj" fmla="val 19554"/>
            </a:avLst>
          </a:prstGeom>
          <a:gradFill flip="none" rotWithShape="1">
            <a:gsLst>
              <a:gs pos="0">
                <a:srgbClr val="479BB7">
                  <a:lumMod val="100000"/>
                </a:srgbClr>
              </a:gs>
              <a:gs pos="100000">
                <a:srgbClr val="0085A6">
                  <a:lumMod val="100000"/>
                </a:srgbClr>
              </a:gs>
            </a:gsLst>
            <a:lin ang="5400000" scaled="1"/>
            <a:tileRect/>
          </a:gradFill>
          <a:ln w="6350" cmpd="sng">
            <a:solidFill>
              <a:schemeClr val="accent1">
                <a:lumMod val="100000"/>
              </a:schemeClr>
            </a:solidFill>
            <a:prstDash val="solid"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</a:pPr>
            <a:r>
              <a:rPr lang="de-DE" b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4. High </a:t>
            </a:r>
            <a:r>
              <a:rPr lang="de-DE" b="1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ease</a:t>
            </a:r>
            <a:r>
              <a:rPr lang="de-DE" b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b="1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of</a:t>
            </a:r>
            <a:r>
              <a:rPr lang="de-DE" b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b="1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use</a:t>
            </a:r>
            <a:r>
              <a:rPr lang="de-DE" b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~ High </a:t>
            </a:r>
            <a:r>
              <a:rPr lang="de-DE" b="1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Satisfaction</a:t>
            </a:r>
            <a:r>
              <a:rPr lang="de-DE" b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(</a:t>
            </a:r>
            <a:r>
              <a:rPr lang="de-DE" b="1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Weaker</a:t>
            </a:r>
            <a:r>
              <a:rPr lang="de-DE" b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b="1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relationship</a:t>
            </a:r>
            <a:r>
              <a:rPr lang="de-DE" b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9502265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About the Data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sp>
        <p:nvSpPr>
          <p:cNvPr id="7" name="Rectangle 158">
            <a:extLst>
              <a:ext uri="{FF2B5EF4-FFF2-40B4-BE49-F238E27FC236}">
                <a16:creationId xmlns:a16="http://schemas.microsoft.com/office/drawing/2014/main" id="{4914A7A9-F21D-9B1A-2845-730800DA46D8}"/>
              </a:ext>
            </a:extLst>
          </p:cNvPr>
          <p:cNvSpPr/>
          <p:nvPr/>
        </p:nvSpPr>
        <p:spPr>
          <a:xfrm>
            <a:off x="397933" y="1794935"/>
            <a:ext cx="11490222" cy="3877985"/>
          </a:xfrm>
          <a:prstGeom prst="rect">
            <a:avLst/>
          </a:prstGeom>
          <a:gradFill>
            <a:gsLst>
              <a:gs pos="50000">
                <a:schemeClr val="bg1"/>
              </a:gs>
              <a:gs pos="100000">
                <a:schemeClr val="tx2">
                  <a:lumMod val="20000"/>
                  <a:lumOff val="80000"/>
                </a:schemeClr>
              </a:gs>
            </a:gsLst>
            <a:lin ang="5400000" scaled="0"/>
          </a:gra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8" name="TextBox 92">
            <a:extLst>
              <a:ext uri="{FF2B5EF4-FFF2-40B4-BE49-F238E27FC236}">
                <a16:creationId xmlns:a16="http://schemas.microsoft.com/office/drawing/2014/main" id="{3F85F8DF-E78F-7ABC-AB4F-31B4A82EFEA3}"/>
              </a:ext>
            </a:extLst>
          </p:cNvPr>
          <p:cNvSpPr txBox="1"/>
          <p:nvPr/>
        </p:nvSpPr>
        <p:spPr>
          <a:xfrm>
            <a:off x="3242119" y="1992693"/>
            <a:ext cx="4659476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>
              <a:defRPr sz="1400" b="1"/>
            </a:lvl1pPr>
          </a:lstStyle>
          <a:p>
            <a:pPr defTabSz="1219140">
              <a:defRPr/>
            </a:pPr>
            <a:r>
              <a:rPr lang="de-DE" sz="1600" dirty="0">
                <a:solidFill>
                  <a:srgbClr val="007A94"/>
                </a:solidFill>
                <a:latin typeface="Segoe UI"/>
                <a:cs typeface="Segoe UI"/>
              </a:rPr>
              <a:t>12 Features</a:t>
            </a:r>
          </a:p>
        </p:txBody>
      </p:sp>
      <p:sp>
        <p:nvSpPr>
          <p:cNvPr id="9" name="Rectangle 156">
            <a:extLst>
              <a:ext uri="{FF2B5EF4-FFF2-40B4-BE49-F238E27FC236}">
                <a16:creationId xmlns:a16="http://schemas.microsoft.com/office/drawing/2014/main" id="{A2E1FC61-C996-9554-4DEA-7D0AF2E2B929}"/>
              </a:ext>
            </a:extLst>
          </p:cNvPr>
          <p:cNvSpPr/>
          <p:nvPr/>
        </p:nvSpPr>
        <p:spPr>
          <a:xfrm>
            <a:off x="843057" y="1992693"/>
            <a:ext cx="1883377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1219140">
              <a:defRPr/>
            </a:pPr>
            <a:r>
              <a:rPr lang="de-DE" sz="1600" b="1">
                <a:solidFill>
                  <a:srgbClr val="007A94"/>
                </a:solidFill>
                <a:latin typeface="Segoe UI"/>
                <a:cs typeface="Segoe UI"/>
              </a:rPr>
              <a:t>Dataset</a:t>
            </a:r>
          </a:p>
        </p:txBody>
      </p:sp>
      <p:sp>
        <p:nvSpPr>
          <p:cNvPr id="10" name="TextBox 387">
            <a:extLst>
              <a:ext uri="{FF2B5EF4-FFF2-40B4-BE49-F238E27FC236}">
                <a16:creationId xmlns:a16="http://schemas.microsoft.com/office/drawing/2014/main" id="{7552F30F-617F-0ED6-42CB-FCA3D65E359B}"/>
              </a:ext>
            </a:extLst>
          </p:cNvPr>
          <p:cNvSpPr txBox="1"/>
          <p:nvPr/>
        </p:nvSpPr>
        <p:spPr>
          <a:xfrm>
            <a:off x="843315" y="2310367"/>
            <a:ext cx="2112539" cy="387798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1219140">
              <a:defRPr/>
            </a:pP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WebMD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Drug Reviews</a:t>
            </a:r>
          </a:p>
          <a:p>
            <a:pPr defTabSz="1219140">
              <a:defRPr/>
            </a:pP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defTabSz="1219140">
              <a:defRPr/>
            </a:pPr>
            <a:r>
              <a:rPr lang="de-DE" sz="1200" b="1" dirty="0" err="1">
                <a:solidFill>
                  <a:srgbClr val="007A94"/>
                </a:solidFill>
                <a:latin typeface="Segoe UI"/>
                <a:cs typeface="Calibri"/>
              </a:rPr>
              <a:t>Context</a:t>
            </a:r>
            <a:r>
              <a:rPr lang="de-DE" sz="1200" b="1" dirty="0">
                <a:solidFill>
                  <a:srgbClr val="007A94"/>
                </a:solidFill>
                <a:latin typeface="Segoe UI"/>
                <a:cs typeface="Calibri"/>
              </a:rPr>
              <a:t>: </a:t>
            </a:r>
          </a:p>
          <a:p>
            <a:pPr defTabSz="1219140">
              <a:defRPr/>
            </a:pP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The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dataset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provides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user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reviews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on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specific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 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prescription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 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drugs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along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with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conditions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,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side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effects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,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age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, sex, and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user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rating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reflecting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overall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patient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satisfaction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.</a:t>
            </a: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defTabSz="1219140">
              <a:defRPr/>
            </a:pP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defTabSz="1219140">
              <a:defRPr/>
            </a:pPr>
            <a:r>
              <a:rPr lang="de-DE" sz="1200" b="1" dirty="0">
                <a:solidFill>
                  <a:srgbClr val="007A94"/>
                </a:solidFill>
                <a:latin typeface="Segoe UI"/>
                <a:cs typeface="Segoe UI"/>
              </a:rPr>
              <a:t>Source: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https://www.kaggle.com/datasets/rohanharode07/webmd-drug-reviews-dataset.</a:t>
            </a:r>
          </a:p>
          <a:p>
            <a:pPr defTabSz="1219140">
              <a:defRPr/>
            </a:pPr>
            <a:endParaRPr lang="de-DE" sz="1200" dirty="0">
              <a:solidFill>
                <a:srgbClr val="007A94"/>
              </a:solidFill>
              <a:latin typeface="Segoe UI"/>
              <a:cs typeface="Calibri"/>
            </a:endParaRPr>
          </a:p>
          <a:p>
            <a:pPr defTabSz="1219140">
              <a:defRPr/>
            </a:pPr>
            <a:r>
              <a:rPr lang="de-DE" sz="1200" b="1" dirty="0">
                <a:solidFill>
                  <a:srgbClr val="007A94"/>
                </a:solidFill>
                <a:latin typeface="Segoe UI"/>
                <a:cs typeface="Calibri"/>
              </a:rPr>
              <a:t>Size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: 362,806 x 12</a:t>
            </a:r>
          </a:p>
          <a:p>
            <a:pPr defTabSz="1219140">
              <a:defRPr/>
            </a:pPr>
            <a:endParaRPr lang="de-DE" sz="1200" dirty="0">
              <a:solidFill>
                <a:srgbClr val="007A94"/>
              </a:solidFill>
              <a:cs typeface="Calibri"/>
            </a:endParaRPr>
          </a:p>
          <a:p>
            <a:pPr defTabSz="1219140">
              <a:defRPr/>
            </a:pPr>
            <a:endParaRPr lang="de-DE" sz="1200" dirty="0">
              <a:solidFill>
                <a:srgbClr val="007A94"/>
              </a:solidFill>
              <a:cs typeface="Calibri"/>
            </a:endParaRPr>
          </a:p>
          <a:p>
            <a:pPr defTabSz="1219140">
              <a:defRPr/>
            </a:pPr>
            <a:endParaRPr lang="de-DE" sz="1200" dirty="0">
              <a:cs typeface="Calibri" panose="020F0502020204030204"/>
            </a:endParaRPr>
          </a:p>
          <a:p>
            <a:pPr defTabSz="1219140">
              <a:defRPr/>
            </a:pPr>
            <a:endParaRPr lang="de-DE" sz="1200" dirty="0">
              <a:cs typeface="Calibri" panose="020F0502020204030204"/>
            </a:endParaRPr>
          </a:p>
        </p:txBody>
      </p:sp>
      <p:sp>
        <p:nvSpPr>
          <p:cNvPr id="11" name="Rectangle 243">
            <a:extLst>
              <a:ext uri="{FF2B5EF4-FFF2-40B4-BE49-F238E27FC236}">
                <a16:creationId xmlns:a16="http://schemas.microsoft.com/office/drawing/2014/main" id="{4F582BB7-79CB-E4C8-12FC-0B4EC3B8E4DE}"/>
              </a:ext>
            </a:extLst>
          </p:cNvPr>
          <p:cNvSpPr/>
          <p:nvPr/>
        </p:nvSpPr>
        <p:spPr>
          <a:xfrm>
            <a:off x="3312823" y="2350111"/>
            <a:ext cx="4908240" cy="3116624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400" b="1" dirty="0">
                <a:solidFill>
                  <a:srgbClr val="007A94"/>
                </a:solidFill>
                <a:latin typeface="Segoe UI"/>
                <a:cs typeface="Segoe UI"/>
              </a:rPr>
              <a:t>Drug</a:t>
            </a:r>
            <a:r>
              <a:rPr lang="de-DE" sz="1400" dirty="0">
                <a:solidFill>
                  <a:srgbClr val="007A94"/>
                </a:solidFill>
                <a:latin typeface="Segoe UI"/>
                <a:cs typeface="Segoe UI"/>
              </a:rPr>
              <a:t> (</a:t>
            </a:r>
            <a:r>
              <a:rPr lang="de-DE" sz="1400" dirty="0" err="1">
                <a:solidFill>
                  <a:srgbClr val="007A94"/>
                </a:solidFill>
                <a:latin typeface="Segoe UI"/>
                <a:cs typeface="Segoe UI"/>
              </a:rPr>
              <a:t>categorical</a:t>
            </a:r>
            <a:r>
              <a:rPr lang="de-DE" sz="1400" dirty="0">
                <a:solidFill>
                  <a:srgbClr val="007A94"/>
                </a:solidFill>
                <a:latin typeface="Segoe UI"/>
                <a:cs typeface="Segoe UI"/>
              </a:rPr>
              <a:t>): </a:t>
            </a:r>
            <a:r>
              <a:rPr lang="de-DE" sz="1400" dirty="0" err="1">
                <a:solidFill>
                  <a:srgbClr val="007A94"/>
                </a:solidFill>
                <a:latin typeface="Segoe UI"/>
                <a:cs typeface="Segoe UI"/>
              </a:rPr>
              <a:t>name</a:t>
            </a:r>
            <a:r>
              <a:rPr lang="de-DE" sz="14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400" dirty="0" err="1">
                <a:solidFill>
                  <a:srgbClr val="007A94"/>
                </a:solidFill>
                <a:latin typeface="Segoe UI"/>
                <a:cs typeface="Segoe UI"/>
              </a:rPr>
              <a:t>of</a:t>
            </a:r>
            <a:r>
              <a:rPr lang="de-DE" sz="14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400" dirty="0" err="1">
                <a:solidFill>
                  <a:srgbClr val="007A94"/>
                </a:solidFill>
                <a:latin typeface="Segoe UI"/>
                <a:cs typeface="Segoe UI"/>
              </a:rPr>
              <a:t>drug</a:t>
            </a:r>
            <a:endParaRPr lang="de-DE" sz="14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400" b="1" dirty="0" err="1">
                <a:solidFill>
                  <a:srgbClr val="007A94"/>
                </a:solidFill>
                <a:latin typeface="Segoe UI"/>
                <a:cs typeface="Segoe UI"/>
              </a:rPr>
              <a:t>DrugID</a:t>
            </a:r>
            <a:r>
              <a:rPr lang="de-DE" sz="1400" dirty="0">
                <a:solidFill>
                  <a:srgbClr val="007A94"/>
                </a:solidFill>
                <a:latin typeface="Segoe UI"/>
                <a:cs typeface="Segoe UI"/>
              </a:rPr>
              <a:t> (</a:t>
            </a:r>
            <a:r>
              <a:rPr lang="de-DE" sz="1400" dirty="0" err="1">
                <a:solidFill>
                  <a:srgbClr val="007A94"/>
                </a:solidFill>
                <a:latin typeface="Segoe UI"/>
                <a:cs typeface="Segoe UI"/>
              </a:rPr>
              <a:t>numerical</a:t>
            </a:r>
            <a:r>
              <a:rPr lang="de-DE" sz="1400" dirty="0">
                <a:solidFill>
                  <a:srgbClr val="007A94"/>
                </a:solidFill>
                <a:latin typeface="Segoe UI"/>
                <a:cs typeface="Segoe UI"/>
              </a:rPr>
              <a:t>): </a:t>
            </a:r>
            <a:r>
              <a:rPr lang="de-DE" sz="1400" dirty="0" err="1">
                <a:solidFill>
                  <a:srgbClr val="007A94"/>
                </a:solidFill>
                <a:latin typeface="Segoe UI"/>
                <a:cs typeface="Segoe UI"/>
              </a:rPr>
              <a:t>drug</a:t>
            </a:r>
            <a:r>
              <a:rPr lang="de-DE" sz="14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400" dirty="0" err="1">
                <a:solidFill>
                  <a:srgbClr val="007A94"/>
                </a:solidFill>
                <a:latin typeface="Segoe UI"/>
                <a:cs typeface="Segoe UI"/>
              </a:rPr>
              <a:t>id</a:t>
            </a:r>
            <a:endParaRPr lang="de-DE" sz="14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400" b="1" dirty="0" err="1">
                <a:solidFill>
                  <a:srgbClr val="007A94"/>
                </a:solidFill>
                <a:latin typeface="Segoe UI"/>
                <a:cs typeface="Segoe UI"/>
              </a:rPr>
              <a:t>Condition</a:t>
            </a:r>
            <a:r>
              <a:rPr lang="de-DE" sz="1400" dirty="0">
                <a:solidFill>
                  <a:srgbClr val="007A94"/>
                </a:solidFill>
                <a:latin typeface="Segoe UI"/>
                <a:cs typeface="Segoe UI"/>
              </a:rPr>
              <a:t> (</a:t>
            </a:r>
            <a:r>
              <a:rPr lang="de-DE" sz="1400" dirty="0" err="1">
                <a:solidFill>
                  <a:srgbClr val="007A94"/>
                </a:solidFill>
                <a:latin typeface="Segoe UI"/>
                <a:cs typeface="Segoe UI"/>
              </a:rPr>
              <a:t>categorical</a:t>
            </a:r>
            <a:r>
              <a:rPr lang="de-DE" sz="1400" dirty="0">
                <a:solidFill>
                  <a:srgbClr val="007A94"/>
                </a:solidFill>
                <a:latin typeface="Segoe UI"/>
                <a:cs typeface="Segoe UI"/>
              </a:rPr>
              <a:t>): </a:t>
            </a:r>
            <a:r>
              <a:rPr lang="de-DE" sz="1400" dirty="0" err="1">
                <a:solidFill>
                  <a:srgbClr val="007A94"/>
                </a:solidFill>
                <a:latin typeface="Segoe UI"/>
                <a:cs typeface="Segoe UI"/>
              </a:rPr>
              <a:t>name</a:t>
            </a:r>
            <a:r>
              <a:rPr lang="de-DE" sz="14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400" dirty="0" err="1">
                <a:solidFill>
                  <a:srgbClr val="007A94"/>
                </a:solidFill>
                <a:latin typeface="Segoe UI"/>
                <a:cs typeface="Segoe UI"/>
              </a:rPr>
              <a:t>of</a:t>
            </a:r>
            <a:r>
              <a:rPr lang="de-DE" sz="14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400" dirty="0" err="1">
                <a:solidFill>
                  <a:srgbClr val="007A94"/>
                </a:solidFill>
                <a:latin typeface="Segoe UI"/>
                <a:cs typeface="Segoe UI"/>
              </a:rPr>
              <a:t>condition</a:t>
            </a:r>
            <a:endParaRPr lang="de-DE" sz="14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400" b="1" dirty="0">
                <a:solidFill>
                  <a:srgbClr val="007A94"/>
                </a:solidFill>
                <a:latin typeface="Segoe UI"/>
                <a:cs typeface="Segoe UI"/>
              </a:rPr>
              <a:t>Review</a:t>
            </a:r>
            <a:r>
              <a:rPr lang="de-DE" sz="1400" dirty="0">
                <a:solidFill>
                  <a:srgbClr val="007A94"/>
                </a:solidFill>
                <a:latin typeface="Segoe UI"/>
                <a:cs typeface="Segoe UI"/>
              </a:rPr>
              <a:t> (</a:t>
            </a:r>
            <a:r>
              <a:rPr lang="de-DE" sz="1400" dirty="0" err="1">
                <a:solidFill>
                  <a:srgbClr val="007A94"/>
                </a:solidFill>
                <a:latin typeface="Segoe UI"/>
                <a:cs typeface="Segoe UI"/>
              </a:rPr>
              <a:t>text</a:t>
            </a:r>
            <a:r>
              <a:rPr lang="de-DE" sz="1400" dirty="0">
                <a:solidFill>
                  <a:srgbClr val="007A94"/>
                </a:solidFill>
                <a:latin typeface="Segoe UI"/>
                <a:cs typeface="Segoe UI"/>
              </a:rPr>
              <a:t>): </a:t>
            </a:r>
            <a:r>
              <a:rPr lang="de-DE" sz="1400" dirty="0" err="1">
                <a:solidFill>
                  <a:srgbClr val="007A94"/>
                </a:solidFill>
                <a:latin typeface="Segoe UI"/>
                <a:cs typeface="Segoe UI"/>
              </a:rPr>
              <a:t>patient</a:t>
            </a:r>
            <a:r>
              <a:rPr lang="de-DE" sz="1400" dirty="0">
                <a:solidFill>
                  <a:srgbClr val="007A94"/>
                </a:solidFill>
                <a:latin typeface="Segoe UI"/>
                <a:cs typeface="Segoe UI"/>
              </a:rPr>
              <a:t> review</a:t>
            </a: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400" b="1" dirty="0">
                <a:solidFill>
                  <a:srgbClr val="007A94"/>
                </a:solidFill>
                <a:latin typeface="Segoe UI"/>
                <a:cs typeface="Segoe UI"/>
              </a:rPr>
              <a:t>Side</a:t>
            </a:r>
            <a:r>
              <a:rPr lang="de-DE" sz="1400" dirty="0">
                <a:solidFill>
                  <a:srgbClr val="007A94"/>
                </a:solidFill>
                <a:latin typeface="Segoe UI"/>
                <a:cs typeface="Segoe UI"/>
              </a:rPr>
              <a:t> (</a:t>
            </a:r>
            <a:r>
              <a:rPr lang="de-DE" sz="1400" dirty="0" err="1">
                <a:solidFill>
                  <a:srgbClr val="007A94"/>
                </a:solidFill>
                <a:latin typeface="Segoe UI"/>
                <a:cs typeface="Segoe UI"/>
              </a:rPr>
              <a:t>text</a:t>
            </a:r>
            <a:r>
              <a:rPr lang="de-DE" sz="1400" dirty="0">
                <a:solidFill>
                  <a:srgbClr val="007A94"/>
                </a:solidFill>
                <a:latin typeface="Segoe UI"/>
                <a:cs typeface="Segoe UI"/>
              </a:rPr>
              <a:t>): </a:t>
            </a:r>
            <a:r>
              <a:rPr lang="de-DE" sz="1400" dirty="0" err="1">
                <a:solidFill>
                  <a:srgbClr val="007A94"/>
                </a:solidFill>
                <a:latin typeface="Segoe UI"/>
                <a:cs typeface="Segoe UI"/>
              </a:rPr>
              <a:t>side</a:t>
            </a:r>
            <a:r>
              <a:rPr lang="de-DE" sz="14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400" dirty="0" err="1">
                <a:solidFill>
                  <a:srgbClr val="007A94"/>
                </a:solidFill>
                <a:latin typeface="Segoe UI"/>
                <a:cs typeface="Segoe UI"/>
              </a:rPr>
              <a:t>effects</a:t>
            </a:r>
            <a:r>
              <a:rPr lang="de-DE" sz="14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400" dirty="0" err="1">
                <a:solidFill>
                  <a:srgbClr val="007A94"/>
                </a:solidFill>
                <a:latin typeface="Segoe UI"/>
                <a:cs typeface="Segoe UI"/>
              </a:rPr>
              <a:t>associated</a:t>
            </a:r>
            <a:r>
              <a:rPr lang="de-DE" sz="14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400" dirty="0" err="1">
                <a:solidFill>
                  <a:srgbClr val="007A94"/>
                </a:solidFill>
                <a:latin typeface="Segoe UI"/>
                <a:cs typeface="Segoe UI"/>
              </a:rPr>
              <a:t>with</a:t>
            </a:r>
            <a:r>
              <a:rPr lang="de-DE" sz="14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400" dirty="0" err="1">
                <a:solidFill>
                  <a:srgbClr val="007A94"/>
                </a:solidFill>
                <a:latin typeface="Segoe UI"/>
                <a:cs typeface="Segoe UI"/>
              </a:rPr>
              <a:t>drug</a:t>
            </a:r>
            <a:r>
              <a:rPr lang="de-DE" sz="1400" dirty="0">
                <a:solidFill>
                  <a:srgbClr val="007A94"/>
                </a:solidFill>
                <a:latin typeface="Segoe UI"/>
                <a:cs typeface="Segoe UI"/>
              </a:rPr>
              <a:t> (</a:t>
            </a:r>
            <a:r>
              <a:rPr lang="de-DE" sz="1400" dirty="0" err="1">
                <a:solidFill>
                  <a:srgbClr val="007A94"/>
                </a:solidFill>
                <a:latin typeface="Segoe UI"/>
                <a:cs typeface="Segoe UI"/>
              </a:rPr>
              <a:t>if</a:t>
            </a:r>
            <a:r>
              <a:rPr lang="de-DE" sz="14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400" dirty="0" err="1">
                <a:solidFill>
                  <a:srgbClr val="007A94"/>
                </a:solidFill>
                <a:latin typeface="Segoe UI"/>
                <a:cs typeface="Segoe UI"/>
              </a:rPr>
              <a:t>any</a:t>
            </a:r>
            <a:r>
              <a:rPr lang="de-DE" sz="1400" dirty="0">
                <a:solidFill>
                  <a:srgbClr val="007A94"/>
                </a:solidFill>
                <a:latin typeface="Segoe UI"/>
                <a:cs typeface="Segoe UI"/>
              </a:rPr>
              <a:t>)</a:t>
            </a: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400" b="1" dirty="0" err="1">
                <a:solidFill>
                  <a:srgbClr val="007A94"/>
                </a:solidFill>
                <a:latin typeface="Segoe UI"/>
                <a:cs typeface="Segoe UI"/>
              </a:rPr>
              <a:t>EaseofUse</a:t>
            </a:r>
            <a:r>
              <a:rPr lang="de-DE" sz="1400" dirty="0">
                <a:solidFill>
                  <a:srgbClr val="007A94"/>
                </a:solidFill>
                <a:latin typeface="Segoe UI"/>
                <a:cs typeface="Segoe UI"/>
              </a:rPr>
              <a:t> (</a:t>
            </a:r>
            <a:r>
              <a:rPr lang="de-DE" sz="1400" dirty="0" err="1">
                <a:solidFill>
                  <a:srgbClr val="007A94"/>
                </a:solidFill>
                <a:latin typeface="Segoe UI"/>
                <a:cs typeface="Segoe UI"/>
              </a:rPr>
              <a:t>numerical</a:t>
            </a:r>
            <a:r>
              <a:rPr lang="de-DE" sz="1400" dirty="0">
                <a:solidFill>
                  <a:srgbClr val="007A94"/>
                </a:solidFill>
                <a:latin typeface="Segoe UI"/>
                <a:cs typeface="Segoe UI"/>
              </a:rPr>
              <a:t>): 5 </a:t>
            </a:r>
            <a:r>
              <a:rPr lang="de-DE" sz="1400" dirty="0" err="1">
                <a:solidFill>
                  <a:srgbClr val="007A94"/>
                </a:solidFill>
                <a:latin typeface="Segoe UI"/>
                <a:cs typeface="Segoe UI"/>
              </a:rPr>
              <a:t>star</a:t>
            </a:r>
            <a:r>
              <a:rPr lang="de-DE" sz="14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400" dirty="0" err="1">
                <a:solidFill>
                  <a:srgbClr val="007A94"/>
                </a:solidFill>
                <a:latin typeface="Segoe UI"/>
                <a:cs typeface="Segoe UI"/>
              </a:rPr>
              <a:t>rating</a:t>
            </a:r>
            <a:endParaRPr lang="de-DE" sz="14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400" b="1" dirty="0" err="1">
                <a:solidFill>
                  <a:srgbClr val="007A94"/>
                </a:solidFill>
                <a:latin typeface="Segoe UI"/>
                <a:cs typeface="Segoe UI"/>
              </a:rPr>
              <a:t>Effectiveness</a:t>
            </a:r>
            <a:r>
              <a:rPr lang="de-DE" sz="1400" dirty="0">
                <a:solidFill>
                  <a:srgbClr val="007A94"/>
                </a:solidFill>
                <a:latin typeface="Segoe UI"/>
                <a:cs typeface="Segoe UI"/>
              </a:rPr>
              <a:t> (</a:t>
            </a:r>
            <a:r>
              <a:rPr lang="de-DE" sz="1400" dirty="0" err="1">
                <a:solidFill>
                  <a:srgbClr val="007A94"/>
                </a:solidFill>
                <a:latin typeface="Segoe UI"/>
                <a:cs typeface="Segoe UI"/>
              </a:rPr>
              <a:t>numerical</a:t>
            </a:r>
            <a:r>
              <a:rPr lang="de-DE" sz="1400" dirty="0">
                <a:solidFill>
                  <a:srgbClr val="007A94"/>
                </a:solidFill>
                <a:latin typeface="Segoe UI"/>
                <a:cs typeface="Segoe UI"/>
              </a:rPr>
              <a:t>): 5 </a:t>
            </a:r>
            <a:r>
              <a:rPr lang="de-DE" sz="1400" dirty="0" err="1">
                <a:solidFill>
                  <a:srgbClr val="007A94"/>
                </a:solidFill>
                <a:latin typeface="Segoe UI"/>
                <a:cs typeface="Segoe UI"/>
              </a:rPr>
              <a:t>star</a:t>
            </a:r>
            <a:r>
              <a:rPr lang="de-DE" sz="14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400" dirty="0" err="1">
                <a:solidFill>
                  <a:srgbClr val="007A94"/>
                </a:solidFill>
                <a:latin typeface="Segoe UI"/>
                <a:cs typeface="Segoe UI"/>
              </a:rPr>
              <a:t>rating</a:t>
            </a:r>
            <a:endParaRPr lang="de-DE" sz="14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400" b="1" dirty="0" err="1">
                <a:solidFill>
                  <a:srgbClr val="007A94"/>
                </a:solidFill>
                <a:latin typeface="Segoe UI"/>
                <a:cs typeface="Segoe UI"/>
              </a:rPr>
              <a:t>Satisfaction</a:t>
            </a:r>
            <a:r>
              <a:rPr lang="de-DE" sz="1400" dirty="0">
                <a:solidFill>
                  <a:srgbClr val="007A94"/>
                </a:solidFill>
                <a:latin typeface="Segoe UI"/>
                <a:cs typeface="Segoe UI"/>
              </a:rPr>
              <a:t> (</a:t>
            </a:r>
            <a:r>
              <a:rPr lang="de-DE" sz="1400" dirty="0" err="1">
                <a:solidFill>
                  <a:srgbClr val="007A94"/>
                </a:solidFill>
                <a:latin typeface="Segoe UI"/>
                <a:cs typeface="Segoe UI"/>
              </a:rPr>
              <a:t>numerical</a:t>
            </a:r>
            <a:r>
              <a:rPr lang="de-DE" sz="1400" dirty="0">
                <a:solidFill>
                  <a:srgbClr val="007A94"/>
                </a:solidFill>
                <a:latin typeface="Segoe UI"/>
                <a:cs typeface="Segoe UI"/>
              </a:rPr>
              <a:t>): 5 </a:t>
            </a:r>
            <a:r>
              <a:rPr lang="de-DE" sz="1400" dirty="0" err="1">
                <a:solidFill>
                  <a:srgbClr val="007A94"/>
                </a:solidFill>
                <a:latin typeface="Segoe UI"/>
                <a:cs typeface="Segoe UI"/>
              </a:rPr>
              <a:t>star</a:t>
            </a:r>
            <a:r>
              <a:rPr lang="de-DE" sz="14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400" dirty="0" err="1">
                <a:solidFill>
                  <a:srgbClr val="007A94"/>
                </a:solidFill>
                <a:latin typeface="Segoe UI"/>
                <a:cs typeface="Segoe UI"/>
              </a:rPr>
              <a:t>rating</a:t>
            </a:r>
            <a:endParaRPr lang="de-DE" sz="14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400" b="1" dirty="0">
                <a:solidFill>
                  <a:srgbClr val="007A94"/>
                </a:solidFill>
                <a:latin typeface="Segoe UI"/>
                <a:cs typeface="Segoe UI"/>
              </a:rPr>
              <a:t>Date</a:t>
            </a:r>
            <a:r>
              <a:rPr lang="de-DE" sz="1400" dirty="0">
                <a:solidFill>
                  <a:srgbClr val="007A94"/>
                </a:solidFill>
                <a:latin typeface="Segoe UI"/>
                <a:cs typeface="Segoe UI"/>
              </a:rPr>
              <a:t> (date): date </a:t>
            </a:r>
            <a:r>
              <a:rPr lang="de-DE" sz="1400" dirty="0" err="1">
                <a:solidFill>
                  <a:srgbClr val="007A94"/>
                </a:solidFill>
                <a:latin typeface="Segoe UI"/>
                <a:cs typeface="Segoe UI"/>
              </a:rPr>
              <a:t>of</a:t>
            </a:r>
            <a:r>
              <a:rPr lang="de-DE" sz="1400" dirty="0">
                <a:solidFill>
                  <a:srgbClr val="007A94"/>
                </a:solidFill>
                <a:latin typeface="Segoe UI"/>
                <a:cs typeface="Segoe UI"/>
              </a:rPr>
              <a:t> review </a:t>
            </a:r>
            <a:r>
              <a:rPr lang="de-DE" sz="1400" dirty="0" err="1">
                <a:solidFill>
                  <a:srgbClr val="007A94"/>
                </a:solidFill>
                <a:latin typeface="Segoe UI"/>
                <a:cs typeface="Segoe UI"/>
              </a:rPr>
              <a:t>entry</a:t>
            </a:r>
            <a:endParaRPr lang="de-DE" sz="14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400" b="1" dirty="0" err="1">
                <a:solidFill>
                  <a:srgbClr val="007A94"/>
                </a:solidFill>
                <a:latin typeface="Segoe UI"/>
                <a:cs typeface="Segoe UI"/>
              </a:rPr>
              <a:t>UsefulCount</a:t>
            </a:r>
            <a:r>
              <a:rPr lang="de-DE" sz="1400" dirty="0">
                <a:solidFill>
                  <a:srgbClr val="007A94"/>
                </a:solidFill>
                <a:latin typeface="Segoe UI"/>
                <a:cs typeface="Segoe UI"/>
              </a:rPr>
              <a:t> (</a:t>
            </a:r>
            <a:r>
              <a:rPr lang="de-DE" sz="1400" dirty="0" err="1">
                <a:solidFill>
                  <a:srgbClr val="007A94"/>
                </a:solidFill>
                <a:latin typeface="Segoe UI"/>
                <a:cs typeface="Segoe UI"/>
              </a:rPr>
              <a:t>numerical</a:t>
            </a:r>
            <a:r>
              <a:rPr lang="de-DE" sz="1400" dirty="0">
                <a:solidFill>
                  <a:srgbClr val="007A94"/>
                </a:solidFill>
                <a:latin typeface="Segoe UI"/>
                <a:cs typeface="Segoe UI"/>
              </a:rPr>
              <a:t>): </a:t>
            </a:r>
            <a:r>
              <a:rPr lang="de-DE" sz="1400" dirty="0" err="1">
                <a:solidFill>
                  <a:srgbClr val="007A94"/>
                </a:solidFill>
                <a:latin typeface="Segoe UI"/>
                <a:cs typeface="Segoe UI"/>
              </a:rPr>
              <a:t>number</a:t>
            </a:r>
            <a:r>
              <a:rPr lang="de-DE" sz="14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400" dirty="0" err="1">
                <a:solidFill>
                  <a:srgbClr val="007A94"/>
                </a:solidFill>
                <a:latin typeface="Segoe UI"/>
                <a:cs typeface="Segoe UI"/>
              </a:rPr>
              <a:t>of</a:t>
            </a:r>
            <a:r>
              <a:rPr lang="de-DE" sz="14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400" dirty="0" err="1">
                <a:solidFill>
                  <a:srgbClr val="007A94"/>
                </a:solidFill>
                <a:latin typeface="Segoe UI"/>
                <a:cs typeface="Segoe UI"/>
              </a:rPr>
              <a:t>users</a:t>
            </a:r>
            <a:r>
              <a:rPr lang="de-DE" sz="14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400" dirty="0" err="1">
                <a:solidFill>
                  <a:srgbClr val="007A94"/>
                </a:solidFill>
                <a:latin typeface="Segoe UI"/>
                <a:cs typeface="Segoe UI"/>
              </a:rPr>
              <a:t>who</a:t>
            </a:r>
            <a:r>
              <a:rPr lang="de-DE" sz="14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400" dirty="0" err="1">
                <a:solidFill>
                  <a:srgbClr val="007A94"/>
                </a:solidFill>
                <a:latin typeface="Segoe UI"/>
                <a:cs typeface="Segoe UI"/>
              </a:rPr>
              <a:t>found</a:t>
            </a:r>
            <a:r>
              <a:rPr lang="de-DE" sz="1400" dirty="0">
                <a:solidFill>
                  <a:srgbClr val="007A94"/>
                </a:solidFill>
                <a:latin typeface="Segoe UI"/>
                <a:cs typeface="Segoe UI"/>
              </a:rPr>
              <a:t> review </a:t>
            </a:r>
            <a:r>
              <a:rPr lang="de-DE" sz="1400" dirty="0" err="1">
                <a:solidFill>
                  <a:srgbClr val="007A94"/>
                </a:solidFill>
                <a:latin typeface="Segoe UI"/>
                <a:cs typeface="Segoe UI"/>
              </a:rPr>
              <a:t>useful</a:t>
            </a:r>
            <a:endParaRPr lang="de-DE" sz="14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400" b="1" dirty="0">
                <a:solidFill>
                  <a:srgbClr val="007A94"/>
                </a:solidFill>
                <a:latin typeface="Segoe UI"/>
                <a:cs typeface="Segoe UI"/>
              </a:rPr>
              <a:t>Age</a:t>
            </a:r>
            <a:r>
              <a:rPr lang="de-DE" sz="1400" dirty="0">
                <a:solidFill>
                  <a:srgbClr val="007A94"/>
                </a:solidFill>
                <a:latin typeface="Segoe UI"/>
                <a:cs typeface="Segoe UI"/>
              </a:rPr>
              <a:t> (</a:t>
            </a:r>
            <a:r>
              <a:rPr lang="de-DE" sz="1400" dirty="0" err="1">
                <a:solidFill>
                  <a:srgbClr val="007A94"/>
                </a:solidFill>
                <a:latin typeface="Segoe UI"/>
                <a:cs typeface="Segoe UI"/>
              </a:rPr>
              <a:t>numerical</a:t>
            </a:r>
            <a:r>
              <a:rPr lang="de-DE" sz="1400" dirty="0">
                <a:solidFill>
                  <a:srgbClr val="007A94"/>
                </a:solidFill>
                <a:latin typeface="Segoe UI"/>
                <a:cs typeface="Segoe UI"/>
              </a:rPr>
              <a:t>): </a:t>
            </a:r>
            <a:r>
              <a:rPr lang="de-DE" sz="1400" dirty="0" err="1">
                <a:solidFill>
                  <a:srgbClr val="007A94"/>
                </a:solidFill>
                <a:latin typeface="Segoe UI"/>
                <a:cs typeface="Segoe UI"/>
              </a:rPr>
              <a:t>age</a:t>
            </a:r>
            <a:r>
              <a:rPr lang="de-DE" sz="14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400" dirty="0" err="1">
                <a:solidFill>
                  <a:srgbClr val="007A94"/>
                </a:solidFill>
                <a:latin typeface="Segoe UI"/>
                <a:cs typeface="Segoe UI"/>
              </a:rPr>
              <a:t>group</a:t>
            </a:r>
            <a:r>
              <a:rPr lang="de-DE" sz="14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400" dirty="0" err="1">
                <a:solidFill>
                  <a:srgbClr val="007A94"/>
                </a:solidFill>
                <a:latin typeface="Segoe UI"/>
                <a:cs typeface="Segoe UI"/>
              </a:rPr>
              <a:t>range</a:t>
            </a:r>
            <a:r>
              <a:rPr lang="de-DE" sz="14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400" dirty="0" err="1">
                <a:solidFill>
                  <a:srgbClr val="007A94"/>
                </a:solidFill>
                <a:latin typeface="Segoe UI"/>
                <a:cs typeface="Segoe UI"/>
              </a:rPr>
              <a:t>of</a:t>
            </a:r>
            <a:r>
              <a:rPr lang="de-DE" sz="14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400" dirty="0" err="1">
                <a:solidFill>
                  <a:srgbClr val="007A94"/>
                </a:solidFill>
                <a:latin typeface="Segoe UI"/>
                <a:cs typeface="Segoe UI"/>
              </a:rPr>
              <a:t>user</a:t>
            </a:r>
            <a:endParaRPr lang="de-DE" sz="14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400" b="1" dirty="0">
                <a:solidFill>
                  <a:srgbClr val="007A94"/>
                </a:solidFill>
                <a:latin typeface="Segoe UI"/>
                <a:cs typeface="Segoe UI"/>
              </a:rPr>
              <a:t>Sex</a:t>
            </a:r>
            <a:r>
              <a:rPr lang="de-DE" sz="1400" dirty="0">
                <a:solidFill>
                  <a:srgbClr val="007A94"/>
                </a:solidFill>
                <a:latin typeface="Segoe UI"/>
                <a:cs typeface="Segoe UI"/>
              </a:rPr>
              <a:t> (</a:t>
            </a:r>
            <a:r>
              <a:rPr lang="de-DE" sz="1400" dirty="0" err="1">
                <a:solidFill>
                  <a:srgbClr val="007A94"/>
                </a:solidFill>
                <a:latin typeface="Segoe UI"/>
                <a:cs typeface="Segoe UI"/>
              </a:rPr>
              <a:t>categorical</a:t>
            </a:r>
            <a:r>
              <a:rPr lang="de-DE" sz="1400" dirty="0">
                <a:solidFill>
                  <a:srgbClr val="007A94"/>
                </a:solidFill>
                <a:latin typeface="Segoe UI"/>
                <a:cs typeface="Segoe UI"/>
              </a:rPr>
              <a:t>): </a:t>
            </a:r>
            <a:r>
              <a:rPr lang="de-DE" sz="1400" dirty="0" err="1">
                <a:solidFill>
                  <a:srgbClr val="007A94"/>
                </a:solidFill>
                <a:latin typeface="Segoe UI"/>
                <a:cs typeface="Segoe UI"/>
              </a:rPr>
              <a:t>gender</a:t>
            </a:r>
            <a:r>
              <a:rPr lang="de-DE" sz="14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400" dirty="0" err="1">
                <a:solidFill>
                  <a:srgbClr val="007A94"/>
                </a:solidFill>
                <a:latin typeface="Segoe UI"/>
                <a:cs typeface="Segoe UI"/>
              </a:rPr>
              <a:t>of</a:t>
            </a:r>
            <a:r>
              <a:rPr lang="de-DE" sz="14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400" dirty="0" err="1">
                <a:solidFill>
                  <a:srgbClr val="007A94"/>
                </a:solidFill>
                <a:latin typeface="Segoe UI"/>
                <a:cs typeface="Segoe UI"/>
              </a:rPr>
              <a:t>use</a:t>
            </a:r>
            <a:endParaRPr lang="de-DE" sz="14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endParaRPr lang="de-DE" sz="1600" dirty="0">
              <a:solidFill>
                <a:srgbClr val="007A94"/>
              </a:solidFill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endParaRPr lang="de-DE" sz="1600" b="1" dirty="0">
              <a:solidFill>
                <a:schemeClr val="tx1"/>
              </a:solidFill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endParaRPr lang="de-DE" sz="1600" dirty="0">
              <a:solidFill>
                <a:srgbClr val="007A94"/>
              </a:solidFill>
            </a:endParaRPr>
          </a:p>
        </p:txBody>
      </p:sp>
      <p:sp>
        <p:nvSpPr>
          <p:cNvPr id="14" name="TextBox 92">
            <a:extLst>
              <a:ext uri="{FF2B5EF4-FFF2-40B4-BE49-F238E27FC236}">
                <a16:creationId xmlns:a16="http://schemas.microsoft.com/office/drawing/2014/main" id="{D7EBFF40-3DB4-8D85-B454-046695C98629}"/>
              </a:ext>
            </a:extLst>
          </p:cNvPr>
          <p:cNvSpPr txBox="1"/>
          <p:nvPr/>
        </p:nvSpPr>
        <p:spPr>
          <a:xfrm>
            <a:off x="8592548" y="2025467"/>
            <a:ext cx="3689912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>
              <a:defRPr sz="1400" b="1"/>
            </a:lvl1pPr>
          </a:lstStyle>
          <a:p>
            <a:pPr defTabSz="1219140">
              <a:defRPr/>
            </a:pPr>
            <a:r>
              <a:rPr lang="de-DE" sz="1600">
                <a:solidFill>
                  <a:srgbClr val="007A94"/>
                </a:solidFill>
                <a:latin typeface="Segoe UI"/>
                <a:cs typeface="Segoe UI"/>
              </a:rPr>
              <a:t>Data </a:t>
            </a:r>
            <a:r>
              <a:rPr lang="de-DE" sz="1600" err="1">
                <a:solidFill>
                  <a:srgbClr val="007A94"/>
                </a:solidFill>
                <a:latin typeface="Segoe UI"/>
                <a:cs typeface="Segoe UI"/>
              </a:rPr>
              <a:t>Preprocessing</a:t>
            </a:r>
            <a:endParaRPr lang="de-DE" sz="1600">
              <a:solidFill>
                <a:srgbClr val="007A94"/>
              </a:solidFill>
              <a:latin typeface="Segoe UI"/>
              <a:cs typeface="Segoe UI"/>
            </a:endParaRPr>
          </a:p>
        </p:txBody>
      </p:sp>
      <p:sp>
        <p:nvSpPr>
          <p:cNvPr id="15" name="TextBox 227">
            <a:extLst>
              <a:ext uri="{FF2B5EF4-FFF2-40B4-BE49-F238E27FC236}">
                <a16:creationId xmlns:a16="http://schemas.microsoft.com/office/drawing/2014/main" id="{8A0DE985-5D35-86E2-70B6-7A18EF41AD49}"/>
              </a:ext>
            </a:extLst>
          </p:cNvPr>
          <p:cNvSpPr txBox="1"/>
          <p:nvPr/>
        </p:nvSpPr>
        <p:spPr>
          <a:xfrm>
            <a:off x="8989142" y="3026272"/>
            <a:ext cx="2899013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1219140">
              <a:defRPr/>
            </a:pPr>
            <a:r>
              <a:rPr lang="en-US" sz="1200" b="0" i="0">
                <a:solidFill>
                  <a:srgbClr val="007A94"/>
                </a:solidFill>
                <a:effectLst/>
                <a:latin typeface="Segoe UI"/>
                <a:cs typeface="Segoe UI"/>
              </a:rPr>
              <a:t>Restrict condition to osteoporosis</a:t>
            </a:r>
            <a:endParaRPr lang="de-DE" sz="1200">
              <a:solidFill>
                <a:srgbClr val="007A94"/>
              </a:solidFill>
              <a:latin typeface="Segoe UI"/>
              <a:cs typeface="Segoe UI"/>
            </a:endParaRPr>
          </a:p>
        </p:txBody>
      </p:sp>
      <p:pic>
        <p:nvPicPr>
          <p:cNvPr id="16" name="Grafik 84">
            <a:extLst>
              <a:ext uri="{FF2B5EF4-FFF2-40B4-BE49-F238E27FC236}">
                <a16:creationId xmlns:a16="http://schemas.microsoft.com/office/drawing/2014/main" id="{F37E84E1-D61B-6014-A2D9-77B19EDA79A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8626917" y="2958608"/>
            <a:ext cx="309336" cy="309336"/>
          </a:xfrm>
          <a:prstGeom prst="rect">
            <a:avLst/>
          </a:prstGeom>
        </p:spPr>
      </p:pic>
      <p:pic>
        <p:nvPicPr>
          <p:cNvPr id="17" name="Grafik 87">
            <a:extLst>
              <a:ext uri="{FF2B5EF4-FFF2-40B4-BE49-F238E27FC236}">
                <a16:creationId xmlns:a16="http://schemas.microsoft.com/office/drawing/2014/main" id="{52326547-D302-16E7-2AE0-25903CBF0A49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8647977" y="3371961"/>
            <a:ext cx="309336" cy="309336"/>
          </a:xfrm>
          <a:prstGeom prst="rect">
            <a:avLst/>
          </a:prstGeom>
        </p:spPr>
      </p:pic>
      <p:pic>
        <p:nvPicPr>
          <p:cNvPr id="18" name="Grafik 90">
            <a:extLst>
              <a:ext uri="{FF2B5EF4-FFF2-40B4-BE49-F238E27FC236}">
                <a16:creationId xmlns:a16="http://schemas.microsoft.com/office/drawing/2014/main" id="{2A49DF1C-CADB-9E71-A711-AAFA3428C9B4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8648451" y="3743270"/>
            <a:ext cx="309336" cy="309336"/>
          </a:xfrm>
          <a:prstGeom prst="rect">
            <a:avLst/>
          </a:prstGeom>
        </p:spPr>
      </p:pic>
      <p:sp>
        <p:nvSpPr>
          <p:cNvPr id="19" name="TextBox 227">
            <a:extLst>
              <a:ext uri="{FF2B5EF4-FFF2-40B4-BE49-F238E27FC236}">
                <a16:creationId xmlns:a16="http://schemas.microsoft.com/office/drawing/2014/main" id="{AA298C44-898A-5E39-586B-A68452D74382}"/>
              </a:ext>
            </a:extLst>
          </p:cNvPr>
          <p:cNvSpPr txBox="1"/>
          <p:nvPr/>
        </p:nvSpPr>
        <p:spPr>
          <a:xfrm>
            <a:off x="8989142" y="3398989"/>
            <a:ext cx="2899013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1219140">
              <a:defRPr/>
            </a:pPr>
            <a:r>
              <a:rPr lang="en-US" sz="1200" b="0" i="0">
                <a:solidFill>
                  <a:srgbClr val="007A94"/>
                </a:solidFill>
                <a:effectLst/>
                <a:latin typeface="Segoe UI"/>
                <a:cs typeface="Segoe UI"/>
              </a:rPr>
              <a:t>Remove duplicate reviews</a:t>
            </a:r>
            <a:endParaRPr lang="de-DE" sz="1200">
              <a:solidFill>
                <a:srgbClr val="007A94"/>
              </a:solidFill>
              <a:latin typeface="Segoe UI"/>
              <a:cs typeface="Segoe UI"/>
            </a:endParaRPr>
          </a:p>
        </p:txBody>
      </p:sp>
      <p:sp>
        <p:nvSpPr>
          <p:cNvPr id="20" name="TextBox 227">
            <a:extLst>
              <a:ext uri="{FF2B5EF4-FFF2-40B4-BE49-F238E27FC236}">
                <a16:creationId xmlns:a16="http://schemas.microsoft.com/office/drawing/2014/main" id="{49F42A3B-767C-D533-053E-6575C705F9FF}"/>
              </a:ext>
            </a:extLst>
          </p:cNvPr>
          <p:cNvSpPr txBox="1"/>
          <p:nvPr/>
        </p:nvSpPr>
        <p:spPr>
          <a:xfrm>
            <a:off x="8989142" y="3761709"/>
            <a:ext cx="2899013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1219140">
              <a:defRPr/>
            </a:pPr>
            <a:r>
              <a:rPr lang="en-US" sz="1200">
                <a:solidFill>
                  <a:srgbClr val="007A94"/>
                </a:solidFill>
                <a:latin typeface="Segoe UI"/>
                <a:cs typeface="Segoe UI"/>
              </a:rPr>
              <a:t>R</a:t>
            </a:r>
            <a:r>
              <a:rPr lang="en-US" sz="1200" b="0" i="0">
                <a:solidFill>
                  <a:srgbClr val="007A94"/>
                </a:solidFill>
                <a:effectLst/>
                <a:latin typeface="Segoe UI"/>
                <a:cs typeface="Segoe UI"/>
              </a:rPr>
              <a:t>e-code the age to the desired buckets</a:t>
            </a:r>
            <a:endParaRPr lang="de-DE" sz="1200">
              <a:solidFill>
                <a:srgbClr val="007A94"/>
              </a:solidFill>
              <a:latin typeface="Segoe UI"/>
              <a:cs typeface="Segoe UI"/>
            </a:endParaRPr>
          </a:p>
        </p:txBody>
      </p:sp>
      <p:sp>
        <p:nvSpPr>
          <p:cNvPr id="21" name="Arrow: Right 20">
            <a:extLst>
              <a:ext uri="{FF2B5EF4-FFF2-40B4-BE49-F238E27FC236}">
                <a16:creationId xmlns:a16="http://schemas.microsoft.com/office/drawing/2014/main" id="{07E92697-91ED-9C22-C17A-3F6717B44407}"/>
              </a:ext>
            </a:extLst>
          </p:cNvPr>
          <p:cNvSpPr/>
          <p:nvPr/>
        </p:nvSpPr>
        <p:spPr>
          <a:xfrm>
            <a:off x="7986329" y="3475127"/>
            <a:ext cx="576748" cy="477941"/>
          </a:xfrm>
          <a:prstGeom prst="rightArrow">
            <a:avLst/>
          </a:prstGeom>
          <a:solidFill>
            <a:srgbClr val="007A9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Arrow: Right 21">
            <a:extLst>
              <a:ext uri="{FF2B5EF4-FFF2-40B4-BE49-F238E27FC236}">
                <a16:creationId xmlns:a16="http://schemas.microsoft.com/office/drawing/2014/main" id="{180354F1-E336-6170-ABA8-45B6F48F6067}"/>
              </a:ext>
            </a:extLst>
          </p:cNvPr>
          <p:cNvSpPr/>
          <p:nvPr/>
        </p:nvSpPr>
        <p:spPr>
          <a:xfrm>
            <a:off x="2791619" y="3401384"/>
            <a:ext cx="576748" cy="477941"/>
          </a:xfrm>
          <a:prstGeom prst="rightArrow">
            <a:avLst/>
          </a:prstGeom>
          <a:solidFill>
            <a:srgbClr val="007A9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16841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BD1E04F3-8C0B-FABD-DC93-A160E72AADCC}"/>
              </a:ext>
            </a:extLst>
          </p:cNvPr>
          <p:cNvSpPr txBox="1">
            <a:spLocks/>
          </p:cNvSpPr>
          <p:nvPr/>
        </p:nvSpPr>
        <p:spPr>
          <a:xfrm>
            <a:off x="-1" y="12716"/>
            <a:ext cx="12192001" cy="88949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800" b="1">
                <a:solidFill>
                  <a:srgbClr val="0088A6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verage Ratings for Non-injectable vs. Injectable Treatment: </a:t>
            </a:r>
            <a:r>
              <a:rPr lang="en-US" sz="2800">
                <a:solidFill>
                  <a:srgbClr val="0088A6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argeted at different age groups</a:t>
            </a:r>
            <a:endParaRPr lang="de-DE" sz="2800">
              <a:solidFill>
                <a:srgbClr val="0088A6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aphicFrame>
        <p:nvGraphicFramePr>
          <p:cNvPr id="7" name="Table 21">
            <a:extLst>
              <a:ext uri="{FF2B5EF4-FFF2-40B4-BE49-F238E27FC236}">
                <a16:creationId xmlns:a16="http://schemas.microsoft.com/office/drawing/2014/main" id="{A6A508B6-787D-33FC-CF5D-EA0D7516291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404029"/>
              </p:ext>
            </p:extLst>
          </p:nvPr>
        </p:nvGraphicFramePr>
        <p:xfrm>
          <a:off x="273331" y="1126727"/>
          <a:ext cx="5637317" cy="2075942"/>
        </p:xfrm>
        <a:graphic>
          <a:graphicData uri="http://schemas.openxmlformats.org/drawingml/2006/table">
            <a:tbl>
              <a:tblPr firstRow="1" bandRow="1">
                <a:tableStyleId>{EB344D84-9AFB-497E-A393-DC336BA19D2E}</a:tableStyleId>
              </a:tblPr>
              <a:tblGrid>
                <a:gridCol w="2933495">
                  <a:extLst>
                    <a:ext uri="{9D8B030D-6E8A-4147-A177-3AD203B41FA5}">
                      <a16:colId xmlns:a16="http://schemas.microsoft.com/office/drawing/2014/main" val="1807575028"/>
                    </a:ext>
                  </a:extLst>
                </a:gridCol>
                <a:gridCol w="1612130">
                  <a:extLst>
                    <a:ext uri="{9D8B030D-6E8A-4147-A177-3AD203B41FA5}">
                      <a16:colId xmlns:a16="http://schemas.microsoft.com/office/drawing/2014/main" val="243005841"/>
                    </a:ext>
                  </a:extLst>
                </a:gridCol>
                <a:gridCol w="1091692">
                  <a:extLst>
                    <a:ext uri="{9D8B030D-6E8A-4147-A177-3AD203B41FA5}">
                      <a16:colId xmlns:a16="http://schemas.microsoft.com/office/drawing/2014/main" val="3630113691"/>
                    </a:ext>
                  </a:extLst>
                </a:gridCol>
              </a:tblGrid>
              <a:tr h="303257">
                <a:tc>
                  <a:txBody>
                    <a:bodyPr/>
                    <a:lstStyle/>
                    <a:p>
                      <a:pPr algn="l"/>
                      <a:r>
                        <a:rPr lang="de-D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rug Name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A9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ype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A9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unt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A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3206019"/>
                  </a:ext>
                </a:extLst>
              </a:tr>
              <a:tr h="1710182">
                <a:tc>
                  <a:txBody>
                    <a:bodyPr/>
                    <a:lstStyle/>
                    <a:p>
                      <a:pPr algn="l"/>
                      <a:r>
                        <a:rPr lang="de-DE" sz="14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Prolia Syring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Reclast bottle, infusion</a:t>
                      </a:r>
                      <a:endParaRPr lang="de-DE" sz="1400">
                        <a:solidFill>
                          <a:schemeClr val="bg1">
                            <a:lumMod val="50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algn="l"/>
                      <a:r>
                        <a:rPr lang="en-US" sz="1400" b="0" kern="120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Zometa vial</a:t>
                      </a:r>
                    </a:p>
                    <a:p>
                      <a:pPr algn="l"/>
                      <a:endParaRPr lang="en-US" sz="1400" b="0" kern="120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algn="l"/>
                      <a:r>
                        <a:rPr lang="en-US" sz="1400" b="0" kern="120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Atelvia</a:t>
                      </a:r>
                      <a:br>
                        <a:rPr lang="en-US" sz="1400" b="0" kern="120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</a:br>
                      <a:r>
                        <a:rPr lang="en-US" sz="1400" b="0" kern="120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Actonel tablet osteoporosis agents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njectable</a:t>
                      </a:r>
                    </a:p>
                    <a:p>
                      <a:pPr algn="ctr"/>
                      <a:r>
                        <a:rPr lang="de-DE" sz="14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njectabl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njectable</a:t>
                      </a:r>
                    </a:p>
                    <a:p>
                      <a:pPr algn="ctr"/>
                      <a:endParaRPr lang="de-DE" sz="1400">
                        <a:solidFill>
                          <a:schemeClr val="bg1">
                            <a:lumMod val="50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algn="ctr"/>
                      <a:r>
                        <a:rPr lang="de-DE" sz="14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Non-injectable</a:t>
                      </a:r>
                    </a:p>
                    <a:p>
                      <a:pPr algn="ctr"/>
                      <a:r>
                        <a:rPr lang="de-DE" sz="14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Non-injectable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400">
                        <a:solidFill>
                          <a:schemeClr val="bg1">
                            <a:lumMod val="50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algn="ctr"/>
                      <a:r>
                        <a:rPr lang="de-DE" sz="14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545</a:t>
                      </a:r>
                    </a:p>
                    <a:p>
                      <a:pPr algn="ctr"/>
                      <a:endParaRPr lang="de-DE" sz="1400">
                        <a:solidFill>
                          <a:schemeClr val="bg1">
                            <a:lumMod val="50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algn="ctr"/>
                      <a:endParaRPr lang="de-DE" sz="1400">
                        <a:solidFill>
                          <a:schemeClr val="bg1">
                            <a:lumMod val="50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algn="ctr"/>
                      <a:endParaRPr lang="de-DE" sz="1400">
                        <a:solidFill>
                          <a:schemeClr val="bg1">
                            <a:lumMod val="50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algn="ctr"/>
                      <a:r>
                        <a:rPr lang="de-DE" sz="14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48</a:t>
                      </a:r>
                    </a:p>
                    <a:p>
                      <a:pPr algn="ctr"/>
                      <a:endParaRPr lang="de-DE" sz="1400">
                        <a:solidFill>
                          <a:schemeClr val="bg1">
                            <a:lumMod val="50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78689600"/>
                  </a:ext>
                </a:extLst>
              </a:tr>
            </a:tbl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7F43705A-2C9B-0DF6-14F2-DA044987B41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62409216"/>
              </p:ext>
            </p:extLst>
          </p:nvPr>
        </p:nvGraphicFramePr>
        <p:xfrm>
          <a:off x="87980" y="3427189"/>
          <a:ext cx="3978876" cy="3002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974AE36B-B95B-5230-D6DF-641541472B6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3078634"/>
              </p:ext>
            </p:extLst>
          </p:nvPr>
        </p:nvGraphicFramePr>
        <p:xfrm>
          <a:off x="4150552" y="3427189"/>
          <a:ext cx="3978876" cy="3002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7C110195-0499-A3E8-C8C6-FDB1CE2B262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77634943"/>
              </p:ext>
            </p:extLst>
          </p:nvPr>
        </p:nvGraphicFramePr>
        <p:xfrm>
          <a:off x="8213124" y="3427189"/>
          <a:ext cx="3978876" cy="3002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3CE24205-CD5B-F7FA-35DF-B91835A031C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05617611"/>
              </p:ext>
            </p:extLst>
          </p:nvPr>
        </p:nvGraphicFramePr>
        <p:xfrm>
          <a:off x="5910648" y="1126727"/>
          <a:ext cx="3529187" cy="20759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78B7703B-E87A-6615-6E10-73292F7B29E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92666685"/>
              </p:ext>
            </p:extLst>
          </p:nvPr>
        </p:nvGraphicFramePr>
        <p:xfrm>
          <a:off x="8662813" y="1126727"/>
          <a:ext cx="3529187" cy="20759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3012991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Overview of Osteoporosis-related Illnesses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D313E9D-2D23-AFFB-B308-AB427B8836EA}"/>
              </a:ext>
            </a:extLst>
          </p:cNvPr>
          <p:cNvSpPr/>
          <p:nvPr/>
        </p:nvSpPr>
        <p:spPr>
          <a:xfrm>
            <a:off x="703733" y="1450800"/>
            <a:ext cx="10883937" cy="4383980"/>
          </a:xfrm>
          <a:prstGeom prst="rect">
            <a:avLst/>
          </a:prstGeom>
          <a:gradFill>
            <a:gsLst>
              <a:gs pos="50000">
                <a:schemeClr val="bg1"/>
              </a:gs>
              <a:gs pos="100000">
                <a:schemeClr val="tx2">
                  <a:lumMod val="20000"/>
                  <a:lumOff val="80000"/>
                </a:schemeClr>
              </a:gs>
            </a:gsLst>
            <a:lin ang="5400000" scaled="0"/>
          </a:gra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>
              <a:solidFill>
                <a:schemeClr val="tx1"/>
              </a:solidFill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220F8768-183C-10DE-0127-5113C155B0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7114125"/>
              </p:ext>
            </p:extLst>
          </p:nvPr>
        </p:nvGraphicFramePr>
        <p:xfrm>
          <a:off x="1028454" y="1706577"/>
          <a:ext cx="10088177" cy="36827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686978">
                  <a:extLst>
                    <a:ext uri="{9D8B030D-6E8A-4147-A177-3AD203B41FA5}">
                      <a16:colId xmlns:a16="http://schemas.microsoft.com/office/drawing/2014/main" val="1667587394"/>
                    </a:ext>
                  </a:extLst>
                </a:gridCol>
                <a:gridCol w="4401199">
                  <a:extLst>
                    <a:ext uri="{9D8B030D-6E8A-4147-A177-3AD203B41FA5}">
                      <a16:colId xmlns:a16="http://schemas.microsoft.com/office/drawing/2014/main" val="2666223176"/>
                    </a:ext>
                  </a:extLst>
                </a:gridCol>
              </a:tblGrid>
              <a:tr h="571453">
                <a:tc>
                  <a:txBody>
                    <a:bodyPr/>
                    <a:lstStyle/>
                    <a:p>
                      <a:r>
                        <a:rPr lang="en-US" dirty="0">
                          <a:latin typeface="Segoe UI"/>
                        </a:rPr>
                        <a:t>Conditions</a:t>
                      </a:r>
                    </a:p>
                  </a:txBody>
                  <a:tcPr>
                    <a:solidFill>
                      <a:srgbClr val="007A9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latin typeface="Segoe UI"/>
                        </a:rPr>
                        <a:t>Number of Reviews</a:t>
                      </a:r>
                    </a:p>
                  </a:txBody>
                  <a:tcPr>
                    <a:solidFill>
                      <a:srgbClr val="007A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3580663"/>
                  </a:ext>
                </a:extLst>
              </a:tr>
              <a:tr h="3111253"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</a:pPr>
                      <a:endParaRPr lang="en-US" sz="1400" b="1" dirty="0">
                        <a:solidFill>
                          <a:schemeClr val="bg1">
                            <a:lumMod val="50000"/>
                          </a:schemeClr>
                        </a:solidFill>
                        <a:latin typeface="Segoe UI"/>
                      </a:endParaRPr>
                    </a:p>
                    <a:p>
                      <a:pPr algn="ctr">
                        <a:lnSpc>
                          <a:spcPct val="200000"/>
                        </a:lnSpc>
                      </a:pPr>
                      <a:endParaRPr lang="en-US" sz="1400" b="1" dirty="0">
                        <a:solidFill>
                          <a:schemeClr val="bg1">
                            <a:lumMod val="50000"/>
                          </a:schemeClr>
                        </a:solidFill>
                        <a:latin typeface="Segoe UI"/>
                      </a:endParaRPr>
                    </a:p>
                    <a:p>
                      <a:pPr algn="ctr">
                        <a:lnSpc>
                          <a:spcPct val="200000"/>
                        </a:lnSpc>
                      </a:pPr>
                      <a:r>
                        <a:rPr lang="en-US" sz="14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</a:rPr>
                        <a:t>Osteoporosis</a:t>
                      </a:r>
                    </a:p>
                    <a:p>
                      <a:pPr lvl="0" algn="ctr">
                        <a:lnSpc>
                          <a:spcPct val="200000"/>
                        </a:lnSpc>
                        <a:buNone/>
                      </a:pPr>
                      <a:r>
                        <a:rPr lang="en-US" sz="1400" b="1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Post-Menopausal Osteoporosis Prevention</a:t>
                      </a:r>
                      <a:endParaRPr lang="en-US" sz="1400" b="1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Segoe UI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lvl="0" algn="ctr" defTabSz="914400">
                        <a:lnSpc>
                          <a:spcPct val="200000"/>
                        </a:lnSpc>
                        <a:buNone/>
                      </a:pPr>
                      <a:endParaRPr lang="en-US" sz="1400" b="1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Segoe UI"/>
                        <a:ea typeface="+mn-ea"/>
                        <a:cs typeface="+mn-cs"/>
                      </a:endParaRPr>
                    </a:p>
                    <a:p>
                      <a:pPr marL="0" lvl="0" algn="ctr" defTabSz="914400">
                        <a:lnSpc>
                          <a:spcPct val="200000"/>
                        </a:lnSpc>
                        <a:buNone/>
                      </a:pPr>
                      <a:r>
                        <a:rPr lang="en-US" sz="1400" b="1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Female: 1116</a:t>
                      </a:r>
                      <a:endParaRPr lang="en-US" b="1" dirty="0"/>
                    </a:p>
                    <a:p>
                      <a:pPr marL="0" lvl="0" algn="ctr" defTabSz="914400" rtl="0" eaLnBrk="1" latinLnBrk="0" hangingPunct="1">
                        <a:lnSpc>
                          <a:spcPct val="200000"/>
                        </a:lnSpc>
                        <a:buNone/>
                      </a:pPr>
                      <a:r>
                        <a:rPr lang="en-US" sz="1400" b="1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Male: 71</a:t>
                      </a:r>
                    </a:p>
                    <a:p>
                      <a:pPr marL="0" lvl="0" algn="ctr" defTabSz="914400" rtl="0" eaLnBrk="1" latinLnBrk="0" hangingPunct="1">
                        <a:lnSpc>
                          <a:spcPct val="200000"/>
                        </a:lnSpc>
                        <a:buNone/>
                      </a:pPr>
                      <a:r>
                        <a:rPr lang="en-US" sz="1400" b="1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Unspecified: 170</a:t>
                      </a:r>
                    </a:p>
                    <a:p>
                      <a:pPr marL="0" lvl="0" algn="ctr" rtl="0" eaLnBrk="1" latinLnBrk="0" hangingPunct="1">
                        <a:lnSpc>
                          <a:spcPct val="200000"/>
                        </a:lnSpc>
                        <a:buNone/>
                      </a:pPr>
                      <a:r>
                        <a:rPr lang="en-US" sz="1400" b="1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Number of Unique Drugs: 71</a:t>
                      </a:r>
                    </a:p>
                    <a:p>
                      <a:pPr marL="0" lvl="0" algn="ctr" defTabSz="914400" rtl="0" eaLnBrk="1" latinLnBrk="0" hangingPunct="1">
                        <a:lnSpc>
                          <a:spcPct val="200000"/>
                        </a:lnSpc>
                        <a:buNone/>
                      </a:pPr>
                      <a:r>
                        <a:rPr lang="en-US" sz="1400" b="1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Rating Records from 2007 to 2020</a:t>
                      </a:r>
                    </a:p>
                    <a:p>
                      <a:pPr lvl="0" algn="ctr">
                        <a:lnSpc>
                          <a:spcPct val="150000"/>
                        </a:lnSpc>
                        <a:buNone/>
                      </a:pPr>
                      <a:endParaRPr lang="en-US" b="1" dirty="0">
                        <a:latin typeface="Segoe UI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8985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825407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Target Demographics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496A993-92FD-AD91-9698-748958D4797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2811" y="1493730"/>
            <a:ext cx="6647967" cy="436358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0D32598-8272-5168-EC62-0EE82AB2E059}"/>
              </a:ext>
            </a:extLst>
          </p:cNvPr>
          <p:cNvSpPr txBox="1"/>
          <p:nvPr/>
        </p:nvSpPr>
        <p:spPr>
          <a:xfrm>
            <a:off x="8572501" y="2950539"/>
            <a:ext cx="2066192" cy="923330"/>
          </a:xfrm>
          <a:prstGeom prst="rect">
            <a:avLst/>
          </a:prstGeom>
          <a:noFill/>
          <a:ln>
            <a:solidFill>
              <a:sysClr val="window" lastClr="FFFFFF">
                <a:lumMod val="65000"/>
              </a:sysClr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 large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majority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of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h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patients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r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from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ges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45-74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0E29B96-B096-0EFC-97C1-7E919EAEBC0B}"/>
              </a:ext>
            </a:extLst>
          </p:cNvPr>
          <p:cNvSpPr txBox="1"/>
          <p:nvPr/>
        </p:nvSpPr>
        <p:spPr>
          <a:xfrm rot="16200000">
            <a:off x="9018676" y="2042697"/>
            <a:ext cx="461665" cy="1354015"/>
          </a:xfrm>
          <a:prstGeom prst="rect">
            <a:avLst/>
          </a:prstGeom>
          <a:solidFill>
            <a:srgbClr val="4472C4">
              <a:lumMod val="40000"/>
              <a:lumOff val="60000"/>
            </a:srgbClr>
          </a:solidFill>
        </p:spPr>
        <p:txBody>
          <a:bodyPr vert="eaVert"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Observation: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00B70B0-77EF-1665-EB54-08E5B849503A}"/>
              </a:ext>
            </a:extLst>
          </p:cNvPr>
          <p:cNvSpPr txBox="1"/>
          <p:nvPr/>
        </p:nvSpPr>
        <p:spPr>
          <a:xfrm>
            <a:off x="8568106" y="1493730"/>
            <a:ext cx="2066192" cy="646331"/>
          </a:xfrm>
          <a:prstGeom prst="rect">
            <a:avLst/>
          </a:prstGeom>
          <a:noFill/>
          <a:ln>
            <a:solidFill>
              <a:sysClr val="window" lastClr="FFFFFF">
                <a:lumMod val="65000"/>
              </a:sysClr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82%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of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h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patients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r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women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D99C941-CE83-648D-FADD-03B197E0C333}"/>
              </a:ext>
            </a:extLst>
          </p:cNvPr>
          <p:cNvSpPr txBox="1"/>
          <p:nvPr/>
        </p:nvSpPr>
        <p:spPr>
          <a:xfrm rot="16200000">
            <a:off x="8851624" y="748546"/>
            <a:ext cx="461665" cy="1028700"/>
          </a:xfrm>
          <a:prstGeom prst="rect">
            <a:avLst/>
          </a:prstGeom>
          <a:solidFill>
            <a:srgbClr val="4472C4">
              <a:lumMod val="40000"/>
              <a:lumOff val="60000"/>
            </a:srgbClr>
          </a:solidFill>
        </p:spPr>
        <p:txBody>
          <a:bodyPr vert="eaVert"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Statistics</a:t>
            </a: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: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4ACB4CD-7397-8357-1B57-E60CDBE07937}"/>
              </a:ext>
            </a:extLst>
          </p:cNvPr>
          <p:cNvSpPr txBox="1"/>
          <p:nvPr/>
        </p:nvSpPr>
        <p:spPr>
          <a:xfrm>
            <a:off x="8568106" y="4760139"/>
            <a:ext cx="2066192" cy="1477328"/>
          </a:xfrm>
          <a:prstGeom prst="rect">
            <a:avLst/>
          </a:prstGeom>
          <a:noFill/>
          <a:ln>
            <a:solidFill>
              <a:sysClr val="window" lastClr="FFFFFF">
                <a:lumMod val="65000"/>
              </a:sysClr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Women in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h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ges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45-74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is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h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arget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demographic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for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Osteoporosis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medications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BE7A0DD-5316-FE08-5582-215DFEDA72BD}"/>
              </a:ext>
            </a:extLst>
          </p:cNvPr>
          <p:cNvSpPr txBox="1"/>
          <p:nvPr/>
        </p:nvSpPr>
        <p:spPr>
          <a:xfrm rot="16200000">
            <a:off x="8943943" y="3922636"/>
            <a:ext cx="461665" cy="1213338"/>
          </a:xfrm>
          <a:prstGeom prst="rect">
            <a:avLst/>
          </a:prstGeom>
          <a:solidFill>
            <a:srgbClr val="4472C4">
              <a:lumMod val="40000"/>
              <a:lumOff val="60000"/>
            </a:srgbClr>
          </a:solidFill>
        </p:spPr>
        <p:txBody>
          <a:bodyPr vert="eaVert"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Conclusion</a:t>
            </a: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14949889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Top Medications Based on Number of Reviews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E97A80C-7B55-AA37-F6A2-2720A88396C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1547" y="1181091"/>
            <a:ext cx="9473120" cy="5113577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A63A62A-AF55-5FE1-F984-7873154F80A6}"/>
              </a:ext>
            </a:extLst>
          </p:cNvPr>
          <p:cNvSpPr txBox="1"/>
          <p:nvPr/>
        </p:nvSpPr>
        <p:spPr>
          <a:xfrm>
            <a:off x="9952144" y="2437194"/>
            <a:ext cx="1826534" cy="1077218"/>
          </a:xfrm>
          <a:prstGeom prst="rect">
            <a:avLst/>
          </a:prstGeom>
          <a:noFill/>
          <a:ln>
            <a:solidFill>
              <a:sysClr val="window" lastClr="FFFFFF">
                <a:lumMod val="65000"/>
              </a:sysClr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mount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prescribed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is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proportional 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o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he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mount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reviewed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4C44357-43C6-861C-37E6-3118CE674B46}"/>
              </a:ext>
            </a:extLst>
          </p:cNvPr>
          <p:cNvSpPr txBox="1"/>
          <p:nvPr/>
        </p:nvSpPr>
        <p:spPr>
          <a:xfrm rot="16200000">
            <a:off x="10330014" y="1613046"/>
            <a:ext cx="430887" cy="1186624"/>
          </a:xfrm>
          <a:prstGeom prst="rect">
            <a:avLst/>
          </a:prstGeom>
          <a:solidFill>
            <a:srgbClr val="4472C4">
              <a:lumMod val="40000"/>
              <a:lumOff val="60000"/>
            </a:srgbClr>
          </a:solidFill>
        </p:spPr>
        <p:txBody>
          <a:bodyPr vert="eaVert"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ssumption</a:t>
            </a:r>
            <a:r>
              <a: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: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193589F-1066-1254-A192-86556F186256}"/>
              </a:ext>
            </a:extLst>
          </p:cNvPr>
          <p:cNvSpPr txBox="1"/>
          <p:nvPr/>
        </p:nvSpPr>
        <p:spPr>
          <a:xfrm>
            <a:off x="9952144" y="4493340"/>
            <a:ext cx="1826534" cy="1323439"/>
          </a:xfrm>
          <a:prstGeom prst="rect">
            <a:avLst/>
          </a:prstGeom>
          <a:noFill/>
          <a:ln>
            <a:solidFill>
              <a:sysClr val="window" lastClr="FFFFFF">
                <a:lumMod val="65000"/>
              </a:sysClr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Reclast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Bottle, Prolia, and 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nctonel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ablet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re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he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most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reviewed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drugs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C493DEB-CEC3-E7DA-7464-9A053DB6E2AA}"/>
              </a:ext>
            </a:extLst>
          </p:cNvPr>
          <p:cNvSpPr txBox="1"/>
          <p:nvPr/>
        </p:nvSpPr>
        <p:spPr>
          <a:xfrm rot="16200000">
            <a:off x="10402078" y="3597126"/>
            <a:ext cx="430887" cy="1330755"/>
          </a:xfrm>
          <a:prstGeom prst="rect">
            <a:avLst/>
          </a:prstGeom>
          <a:solidFill>
            <a:srgbClr val="4472C4">
              <a:lumMod val="40000"/>
              <a:lumOff val="60000"/>
            </a:srgbClr>
          </a:solidFill>
        </p:spPr>
        <p:txBody>
          <a:bodyPr vert="eaVert"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Observation:</a:t>
            </a:r>
          </a:p>
        </p:txBody>
      </p:sp>
    </p:spTree>
    <p:extLst>
      <p:ext uri="{BB962C8B-B14F-4D97-AF65-F5344CB8AC3E}">
        <p14:creationId xmlns:p14="http://schemas.microsoft.com/office/powerpoint/2010/main" val="37667347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Best and Worst Drugs Based on Ratings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6E33F7C-418B-4273-A9C8-AAB27B6EA94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96000" y="2825230"/>
            <a:ext cx="6026877" cy="305110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EC2E8EA-EEBC-39E9-8760-6AC21871588F}"/>
              </a:ext>
            </a:extLst>
          </p:cNvPr>
          <p:cNvSpPr txBox="1"/>
          <p:nvPr/>
        </p:nvSpPr>
        <p:spPr>
          <a:xfrm>
            <a:off x="550799" y="1756637"/>
            <a:ext cx="9261418" cy="369332"/>
          </a:xfrm>
          <a:prstGeom prst="rect">
            <a:avLst/>
          </a:prstGeom>
          <a:noFill/>
          <a:ln>
            <a:solidFill>
              <a:sysClr val="window" lastClr="FFFFFF">
                <a:lumMod val="65000"/>
              </a:sysClr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Reclast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Bottle, Prolia, and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ctonel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Tablet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r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top 3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for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BOTH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h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worst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and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the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best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rated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drugs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.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5E2A3D4-9376-7EFD-E1E6-87479F771E1C}"/>
              </a:ext>
            </a:extLst>
          </p:cNvPr>
          <p:cNvSpPr txBox="1"/>
          <p:nvPr/>
        </p:nvSpPr>
        <p:spPr>
          <a:xfrm rot="16200000">
            <a:off x="985345" y="860423"/>
            <a:ext cx="461665" cy="1330755"/>
          </a:xfrm>
          <a:prstGeom prst="rect">
            <a:avLst/>
          </a:prstGeom>
          <a:solidFill>
            <a:srgbClr val="4472C4">
              <a:lumMod val="40000"/>
              <a:lumOff val="60000"/>
            </a:srgbClr>
          </a:solidFill>
        </p:spPr>
        <p:txBody>
          <a:bodyPr vert="eaVert"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Observation: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828A4D6-B892-5C1F-81F9-EDA64A3485C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9123" y="2825230"/>
            <a:ext cx="6026877" cy="3051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64179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Client Medication - Snapshot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graphicFrame>
        <p:nvGraphicFramePr>
          <p:cNvPr id="3" name="Table 11">
            <a:extLst>
              <a:ext uri="{FF2B5EF4-FFF2-40B4-BE49-F238E27FC236}">
                <a16:creationId xmlns:a16="http://schemas.microsoft.com/office/drawing/2014/main" id="{18A9C2A8-4B30-0BDB-E223-4309416A2F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954787"/>
              </p:ext>
            </p:extLst>
          </p:nvPr>
        </p:nvGraphicFramePr>
        <p:xfrm>
          <a:off x="1108807" y="1865016"/>
          <a:ext cx="3726962" cy="341376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788404">
                  <a:extLst>
                    <a:ext uri="{9D8B030D-6E8A-4147-A177-3AD203B41FA5}">
                      <a16:colId xmlns:a16="http://schemas.microsoft.com/office/drawing/2014/main" val="2456038834"/>
                    </a:ext>
                  </a:extLst>
                </a:gridCol>
                <a:gridCol w="1938558">
                  <a:extLst>
                    <a:ext uri="{9D8B030D-6E8A-4147-A177-3AD203B41FA5}">
                      <a16:colId xmlns:a16="http://schemas.microsoft.com/office/drawing/2014/main" val="1351033311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r>
                        <a:rPr lang="en-GB" dirty="0"/>
                        <a:t>Redacted Drug Name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43538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55 – 7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2665873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Se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Fema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93662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Effectiven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3 / 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92163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Ease of U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4.3 / 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7222998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Satisfa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2 / 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14074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Known Side Effec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Dizziness, </a:t>
                      </a:r>
                    </a:p>
                    <a:p>
                      <a:r>
                        <a:rPr lang="en-GB" dirty="0"/>
                        <a:t>Fast Heart Beat,</a:t>
                      </a:r>
                    </a:p>
                    <a:p>
                      <a:r>
                        <a:rPr lang="en-GB" dirty="0"/>
                        <a:t>Fatigue,</a:t>
                      </a:r>
                    </a:p>
                    <a:p>
                      <a:r>
                        <a:rPr lang="en-GB" dirty="0"/>
                        <a:t>Abdominal Pa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69267282"/>
                  </a:ext>
                </a:extLst>
              </a:tr>
            </a:tbl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D5E767EA-E337-7D25-E992-EF234C07027C}"/>
              </a:ext>
            </a:extLst>
          </p:cNvPr>
          <p:cNvSpPr txBox="1"/>
          <p:nvPr/>
        </p:nvSpPr>
        <p:spPr>
          <a:xfrm>
            <a:off x="5785997" y="2899210"/>
            <a:ext cx="4364999" cy="2031325"/>
          </a:xfrm>
          <a:prstGeom prst="rect">
            <a:avLst/>
          </a:prstGeom>
          <a:noFill/>
          <a:ln>
            <a:solidFill>
              <a:sysClr val="window" lastClr="FFFFFF">
                <a:lumMod val="65000"/>
              </a:sysClr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he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client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is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argeting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h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right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demographics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but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h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verag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satisfaction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score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is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low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Need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further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nalysis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s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o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why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it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is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not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performing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well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and a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strategy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o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increas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satisfaction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C773FD4-4DE3-E139-1AEE-A997CDEE6432}"/>
              </a:ext>
            </a:extLst>
          </p:cNvPr>
          <p:cNvSpPr txBox="1"/>
          <p:nvPr/>
        </p:nvSpPr>
        <p:spPr>
          <a:xfrm rot="16200000">
            <a:off x="6250942" y="1972598"/>
            <a:ext cx="461665" cy="1391553"/>
          </a:xfrm>
          <a:prstGeom prst="rect">
            <a:avLst/>
          </a:prstGeom>
          <a:solidFill>
            <a:srgbClr val="4472C4">
              <a:lumMod val="40000"/>
              <a:lumOff val="60000"/>
            </a:srgbClr>
          </a:solidFill>
        </p:spPr>
        <p:txBody>
          <a:bodyPr vert="eaVert"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Observation:</a:t>
            </a:r>
          </a:p>
        </p:txBody>
      </p:sp>
    </p:spTree>
    <p:extLst>
      <p:ext uri="{BB962C8B-B14F-4D97-AF65-F5344CB8AC3E}">
        <p14:creationId xmlns:p14="http://schemas.microsoft.com/office/powerpoint/2010/main" val="32666404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89ba286-781f-4924-8718-3ab32083bd3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7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S-Presentation">
  <a:themeElements>
    <a:clrScheme name="CS PPT 2014-10-24">
      <a:dk1>
        <a:srgbClr val="000000"/>
      </a:dk1>
      <a:lt1>
        <a:srgbClr val="FFFFFF"/>
      </a:lt1>
      <a:dk2>
        <a:srgbClr val="7D7D7D"/>
      </a:dk2>
      <a:lt2>
        <a:srgbClr val="D8D8D8"/>
      </a:lt2>
      <a:accent1>
        <a:srgbClr val="008CAA"/>
      </a:accent1>
      <a:accent2>
        <a:srgbClr val="78AF05"/>
      </a:accent2>
      <a:accent3>
        <a:srgbClr val="7D7D7D"/>
      </a:accent3>
      <a:accent4>
        <a:srgbClr val="B1B1B1"/>
      </a:accent4>
      <a:accent5>
        <a:srgbClr val="005F7D"/>
      </a:accent5>
      <a:accent6>
        <a:srgbClr val="A0002D"/>
      </a:accent6>
      <a:hlink>
        <a:srgbClr val="000000"/>
      </a:hlink>
      <a:folHlink>
        <a:srgbClr val="000000"/>
      </a:folHlink>
    </a:clrScheme>
    <a:fontScheme name="CS regular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FFFF">
            <a:alpha val="60000"/>
          </a:srgbClr>
        </a:solidFill>
        <a:ln>
          <a:noFill/>
        </a:ln>
      </a:spPr>
      <a:bodyPr rtlCol="0" anchor="ctr"/>
      <a:lstStyle>
        <a:defPPr algn="ctr">
          <a:defRPr dirty="0" err="1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marL="182563" indent="-182563">
          <a:buClr>
            <a:schemeClr val="accent1"/>
          </a:buClr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S-Presentation_DE.potx" id="{76C2426B-DE09-46B0-A4CE-C4206042EEF1}" vid="{A79E824A-ED12-48DF-AD44-B6CB760E0EC9}"/>
    </a:ext>
  </a:extLst>
</a:theme>
</file>

<file path=ppt/theme/theme3.xml><?xml version="1.0" encoding="utf-8"?>
<a:theme xmlns:a="http://schemas.openxmlformats.org/drawingml/2006/main" name="3_CS-Presentation">
  <a:themeElements>
    <a:clrScheme name="CS PPT 2014-10-24">
      <a:dk1>
        <a:srgbClr val="000000"/>
      </a:dk1>
      <a:lt1>
        <a:srgbClr val="FFFFFF"/>
      </a:lt1>
      <a:dk2>
        <a:srgbClr val="7D7D7D"/>
      </a:dk2>
      <a:lt2>
        <a:srgbClr val="D8D8D8"/>
      </a:lt2>
      <a:accent1>
        <a:srgbClr val="008CAA"/>
      </a:accent1>
      <a:accent2>
        <a:srgbClr val="78AF05"/>
      </a:accent2>
      <a:accent3>
        <a:srgbClr val="7D7D7D"/>
      </a:accent3>
      <a:accent4>
        <a:srgbClr val="B1B1B1"/>
      </a:accent4>
      <a:accent5>
        <a:srgbClr val="005F7D"/>
      </a:accent5>
      <a:accent6>
        <a:srgbClr val="A0002D"/>
      </a:accent6>
      <a:hlink>
        <a:srgbClr val="000000"/>
      </a:hlink>
      <a:folHlink>
        <a:srgbClr val="000000"/>
      </a:folHlink>
    </a:clrScheme>
    <a:fontScheme name="CS regular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>
          <a:gsLst>
            <a:gs pos="50000">
              <a:schemeClr val="bg1"/>
            </a:gs>
            <a:gs pos="100000">
              <a:schemeClr val="tx2">
                <a:lumMod val="20000"/>
                <a:lumOff val="80000"/>
              </a:schemeClr>
            </a:gs>
          </a:gsLst>
          <a:lin ang="5400000" scaled="0"/>
        </a:gradFill>
        <a:ln>
          <a:solidFill>
            <a:schemeClr val="bg2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marL="182563" indent="-182563">
          <a:buClr>
            <a:schemeClr val="accent1"/>
          </a:buClr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S-Presentation_DE.potx" id="{76C2426B-DE09-46B0-A4CE-C4206042EEF1}" vid="{A79E824A-ED12-48DF-AD44-B6CB760E0EC9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324</Words>
  <Application>Microsoft Office PowerPoint</Application>
  <PresentationFormat>Widescreen</PresentationFormat>
  <Paragraphs>434</Paragraphs>
  <Slides>40</Slides>
  <Notes>34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40</vt:i4>
      </vt:variant>
    </vt:vector>
  </HeadingPairs>
  <TitlesOfParts>
    <vt:vector size="52" baseType="lpstr">
      <vt:lpstr>Segoe UI (Headings)</vt:lpstr>
      <vt:lpstr>Arial</vt:lpstr>
      <vt:lpstr>Calibri</vt:lpstr>
      <vt:lpstr>Calibri Light</vt:lpstr>
      <vt:lpstr>Consolas</vt:lpstr>
      <vt:lpstr>Segoe UI</vt:lpstr>
      <vt:lpstr>Symbol</vt:lpstr>
      <vt:lpstr>Times New Roman</vt:lpstr>
      <vt:lpstr>Wingdings</vt:lpstr>
      <vt:lpstr>Office Theme</vt:lpstr>
      <vt:lpstr>CS-Presentation</vt:lpstr>
      <vt:lpstr>3_CS-Presentation</vt:lpstr>
      <vt:lpstr>Medication Review Market Analysis for Osteoporosis</vt:lpstr>
      <vt:lpstr>Background. A Client Launched a New Medication</vt:lpstr>
      <vt:lpstr>Approach and Methodology</vt:lpstr>
      <vt:lpstr>About the Data</vt:lpstr>
      <vt:lpstr>Overview of Osteoporosis-related Illnesses</vt:lpstr>
      <vt:lpstr>Target Demographics</vt:lpstr>
      <vt:lpstr>Top Medications Based on Number of Reviews</vt:lpstr>
      <vt:lpstr>Best and Worst Drugs Based on Ratings</vt:lpstr>
      <vt:lpstr>Client Medication - Snapshot</vt:lpstr>
      <vt:lpstr>Approach and Methodology</vt:lpstr>
      <vt:lpstr>Introduction of Language Model</vt:lpstr>
      <vt:lpstr>Application of Language Model</vt:lpstr>
      <vt:lpstr>Use Cases of NLP in Healthcare</vt:lpstr>
      <vt:lpstr>In Our Case: Huggingface BART Model</vt:lpstr>
      <vt:lpstr>In Our Case: BART-Large + Drug Reviews from WebMD</vt:lpstr>
      <vt:lpstr>Reviews about Side Effects/Effectiveness</vt:lpstr>
      <vt:lpstr>Identifying Specific Side Effects</vt:lpstr>
      <vt:lpstr>Zero Shot Classification - Example</vt:lpstr>
      <vt:lpstr>Zero Shot Classification - Example</vt:lpstr>
      <vt:lpstr>Zero Shot Classification - Example</vt:lpstr>
      <vt:lpstr>Zero Shot Classification - Example</vt:lpstr>
      <vt:lpstr>Zero Shot Classification - Example</vt:lpstr>
      <vt:lpstr>Zero Shot Classification - Example</vt:lpstr>
      <vt:lpstr>Most Common Side Effects</vt:lpstr>
      <vt:lpstr>Who Suffers from the Side Effects?</vt:lpstr>
      <vt:lpstr>Who Suffers from the Side Effects?</vt:lpstr>
      <vt:lpstr>Opportunities Against Market Leaders - Reclast</vt:lpstr>
      <vt:lpstr>Opportunities Against Market Leaders - Prolia</vt:lpstr>
      <vt:lpstr>Summary Insights</vt:lpstr>
      <vt:lpstr>Way Forward</vt:lpstr>
      <vt:lpstr>PowerPoint Presentation</vt:lpstr>
      <vt:lpstr>Frequency and Review Scores of Age Demographics.</vt:lpstr>
      <vt:lpstr>Frequency of Reviews for most Reviewed Medications.</vt:lpstr>
      <vt:lpstr>PowerPoint Presentation</vt:lpstr>
      <vt:lpstr>PowerPoint Presentation</vt:lpstr>
      <vt:lpstr>Positive &amp; Negative Reviews about Effectiveness and Side Effects for Top5 Drugs</vt:lpstr>
      <vt:lpstr>Most Treated Conditions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ang, Opal</dc:creator>
  <cp:lastModifiedBy>Kim, Woon</cp:lastModifiedBy>
  <cp:revision>9</cp:revision>
  <dcterms:created xsi:type="dcterms:W3CDTF">2022-07-20T17:03:57Z</dcterms:created>
  <dcterms:modified xsi:type="dcterms:W3CDTF">2022-08-11T17:14:51Z</dcterms:modified>
</cp:coreProperties>
</file>